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5.xml" ContentType="application/vnd.openxmlformats-officedocument.presentationml.tags+xml"/>
  <Override PartName="/ppt/notesSlides/notesSlide5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6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7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8.xml" ContentType="application/vnd.openxmlformats-officedocument.presentationml.notesSlide+xml"/>
  <Override PartName="/ppt/tags/tag45.xml" ContentType="application/vnd.openxmlformats-officedocument.presentationml.tags+xml"/>
  <Override PartName="/ppt/notesSlides/notesSlide9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6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9"/>
  </p:notesMasterIdLst>
  <p:sldIdLst>
    <p:sldId id="258" r:id="rId5"/>
    <p:sldId id="611" r:id="rId6"/>
    <p:sldId id="259" r:id="rId7"/>
    <p:sldId id="560" r:id="rId8"/>
    <p:sldId id="275" r:id="rId9"/>
    <p:sldId id="541" r:id="rId10"/>
    <p:sldId id="311" r:id="rId11"/>
    <p:sldId id="594" r:id="rId12"/>
    <p:sldId id="610" r:id="rId13"/>
    <p:sldId id="606" r:id="rId14"/>
    <p:sldId id="608" r:id="rId15"/>
    <p:sldId id="570" r:id="rId16"/>
    <p:sldId id="571" r:id="rId17"/>
    <p:sldId id="605" r:id="rId18"/>
    <p:sldId id="522" r:id="rId19"/>
    <p:sldId id="307" r:id="rId20"/>
    <p:sldId id="339" r:id="rId21"/>
    <p:sldId id="449" r:id="rId22"/>
    <p:sldId id="270" r:id="rId23"/>
    <p:sldId id="263" r:id="rId24"/>
    <p:sldId id="269" r:id="rId25"/>
    <p:sldId id="609" r:id="rId26"/>
    <p:sldId id="271" r:id="rId27"/>
    <p:sldId id="306" r:id="rId28"/>
  </p:sldIdLst>
  <p:sldSz cx="12192000" cy="6858000"/>
  <p:notesSz cx="6858000" cy="9144000"/>
  <p:custDataLst>
    <p:tags r:id="rId3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AB51D"/>
    <a:srgbClr val="ECF3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4A97DB-5C22-4ED9-894F-A8B1E541D865}" v="199" dt="2023-11-21T09:05:42.961"/>
    <p1510:client id="{9FD99DA5-04BE-476D-A2DB-B84057201583}" v="22" dt="2023-11-21T09:40:18.4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276" y="13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xner,Sebastian" userId="5eadf23f-07d4-4765-beda-cb50073228f9" providerId="ADAL" clId="{1B4A97DB-5C22-4ED9-894F-A8B1E541D865}"/>
    <pc:docChg chg="delSld">
      <pc:chgData name="Exner,Sebastian" userId="5eadf23f-07d4-4765-beda-cb50073228f9" providerId="ADAL" clId="{1B4A97DB-5C22-4ED9-894F-A8B1E541D865}" dt="2023-11-21T09:07:16.353" v="1" actId="47"/>
      <pc:docMkLst>
        <pc:docMk/>
      </pc:docMkLst>
      <pc:sldChg chg="del">
        <pc:chgData name="Exner,Sebastian" userId="5eadf23f-07d4-4765-beda-cb50073228f9" providerId="ADAL" clId="{1B4A97DB-5C22-4ED9-894F-A8B1E541D865}" dt="2023-11-21T09:07:16.353" v="1" actId="47"/>
        <pc:sldMkLst>
          <pc:docMk/>
          <pc:sldMk cId="1549940137" sldId="298"/>
        </pc:sldMkLst>
      </pc:sldChg>
      <pc:sldChg chg="del">
        <pc:chgData name="Exner,Sebastian" userId="5eadf23f-07d4-4765-beda-cb50073228f9" providerId="ADAL" clId="{1B4A97DB-5C22-4ED9-894F-A8B1E541D865}" dt="2023-11-21T09:07:05.265" v="0" actId="47"/>
        <pc:sldMkLst>
          <pc:docMk/>
          <pc:sldMk cId="1231149456" sldId="457"/>
        </pc:sldMkLst>
      </pc:sldChg>
    </pc:docChg>
  </pc:docChgLst>
  <pc:docChgLst>
    <pc:chgData name="Exner,Sebastian" userId="5eadf23f-07d4-4765-beda-cb50073228f9" providerId="ADAL" clId="{9FD99DA5-04BE-476D-A2DB-B84057201583}"/>
    <pc:docChg chg="modSld">
      <pc:chgData name="Exner,Sebastian" userId="5eadf23f-07d4-4765-beda-cb50073228f9" providerId="ADAL" clId="{9FD99DA5-04BE-476D-A2DB-B84057201583}" dt="2023-11-21T09:40:18.469" v="20" actId="113"/>
      <pc:docMkLst>
        <pc:docMk/>
      </pc:docMkLst>
      <pc:sldChg chg="modSp modAnim">
        <pc:chgData name="Exner,Sebastian" userId="5eadf23f-07d4-4765-beda-cb50073228f9" providerId="ADAL" clId="{9FD99DA5-04BE-476D-A2DB-B84057201583}" dt="2023-11-21T09:39:29.216" v="15" actId="113"/>
        <pc:sldMkLst>
          <pc:docMk/>
          <pc:sldMk cId="2458987217" sldId="307"/>
        </pc:sldMkLst>
        <pc:spChg chg="mod">
          <ac:chgData name="Exner,Sebastian" userId="5eadf23f-07d4-4765-beda-cb50073228f9" providerId="ADAL" clId="{9FD99DA5-04BE-476D-A2DB-B84057201583}" dt="2023-11-21T09:39:29.216" v="15" actId="113"/>
          <ac:spMkLst>
            <pc:docMk/>
            <pc:sldMk cId="2458987217" sldId="307"/>
            <ac:spMk id="25" creationId="{C7F419C1-83BB-7FEB-1563-D52903361FED}"/>
          </ac:spMkLst>
        </pc:spChg>
      </pc:sldChg>
      <pc:sldChg chg="modSp modAnim">
        <pc:chgData name="Exner,Sebastian" userId="5eadf23f-07d4-4765-beda-cb50073228f9" providerId="ADAL" clId="{9FD99DA5-04BE-476D-A2DB-B84057201583}" dt="2023-11-21T09:39:58.109" v="18" actId="113"/>
        <pc:sldMkLst>
          <pc:docMk/>
          <pc:sldMk cId="565261038" sldId="339"/>
        </pc:sldMkLst>
        <pc:spChg chg="mod">
          <ac:chgData name="Exner,Sebastian" userId="5eadf23f-07d4-4765-beda-cb50073228f9" providerId="ADAL" clId="{9FD99DA5-04BE-476D-A2DB-B84057201583}" dt="2023-11-21T09:39:58.109" v="18" actId="113"/>
          <ac:spMkLst>
            <pc:docMk/>
            <pc:sldMk cId="565261038" sldId="339"/>
            <ac:spMk id="8" creationId="{26FAEEB8-FD29-8748-41F4-12B57F4A5E64}"/>
          </ac:spMkLst>
        </pc:spChg>
      </pc:sldChg>
      <pc:sldChg chg="modSp modAnim">
        <pc:chgData name="Exner,Sebastian" userId="5eadf23f-07d4-4765-beda-cb50073228f9" providerId="ADAL" clId="{9FD99DA5-04BE-476D-A2DB-B84057201583}" dt="2023-11-21T09:40:18.469" v="20" actId="113"/>
        <pc:sldMkLst>
          <pc:docMk/>
          <pc:sldMk cId="2902249135" sldId="449"/>
        </pc:sldMkLst>
        <pc:spChg chg="mod">
          <ac:chgData name="Exner,Sebastian" userId="5eadf23f-07d4-4765-beda-cb50073228f9" providerId="ADAL" clId="{9FD99DA5-04BE-476D-A2DB-B84057201583}" dt="2023-11-21T09:40:18.469" v="20" actId="113"/>
          <ac:spMkLst>
            <pc:docMk/>
            <pc:sldMk cId="2902249135" sldId="449"/>
            <ac:spMk id="11" creationId="{95269028-F3E0-CACD-1970-05D73DBF58E7}"/>
          </ac:spMkLst>
        </pc:spChg>
      </pc:sldChg>
      <pc:sldChg chg="modSp modAnim">
        <pc:chgData name="Exner,Sebastian" userId="5eadf23f-07d4-4765-beda-cb50073228f9" providerId="ADAL" clId="{9FD99DA5-04BE-476D-A2DB-B84057201583}" dt="2023-11-21T09:38:42.299" v="9" actId="20577"/>
        <pc:sldMkLst>
          <pc:docMk/>
          <pc:sldMk cId="3943657188" sldId="522"/>
        </pc:sldMkLst>
        <pc:spChg chg="mod">
          <ac:chgData name="Exner,Sebastian" userId="5eadf23f-07d4-4765-beda-cb50073228f9" providerId="ADAL" clId="{9FD99DA5-04BE-476D-A2DB-B84057201583}" dt="2023-11-21T09:38:42.299" v="9" actId="20577"/>
          <ac:spMkLst>
            <pc:docMk/>
            <pc:sldMk cId="3943657188" sldId="522"/>
            <ac:spMk id="8" creationId="{080BA5EB-24C7-493A-F4C5-C3DAE04231E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mibrag-my.sharepoint.com/personal/sven_hemmann_mibrag_de/Documents/Microsoft%20Teams-Chatdateien/DayAhead_Preise%20und%20CLS%20Entwicklung%202023_2023-09-1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296328046863837E-3"/>
          <c:y val="1.6949152542372881E-2"/>
          <c:w val="0.98514073439062722"/>
          <c:h val="0.9661016949152542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44E54"/>
            </a:solidFill>
            <a:ln w="6350" algn="ctr">
              <a:solidFill>
                <a:srgbClr val="FFFFFF"/>
              </a:solidFill>
              <a:prstDash val="solid"/>
            </a:ln>
          </c:spPr>
          <c:invertIfNegative val="0"/>
          <c:dPt>
            <c:idx val="7"/>
            <c:invertIfNegative val="0"/>
            <c:bubble3D val="0"/>
            <c:spPr>
              <a:solidFill>
                <a:srgbClr val="00A7DC"/>
              </a:solidFill>
              <a:ln w="635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7495-4E71-8681-CAFEF24A06A1}"/>
              </c:ext>
            </c:extLst>
          </c:dPt>
          <c:dPt>
            <c:idx val="14"/>
            <c:invertIfNegative val="0"/>
            <c:bubble3D val="0"/>
            <c:spPr>
              <a:solidFill>
                <a:srgbClr val="7AB51D"/>
              </a:solidFill>
              <a:ln w="635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7495-4E71-8681-CAFEF24A06A1}"/>
              </c:ext>
            </c:extLst>
          </c:dPt>
          <c:dPt>
            <c:idx val="15"/>
            <c:invertIfNegative val="0"/>
            <c:bubble3D val="0"/>
            <c:spPr>
              <a:solidFill>
                <a:srgbClr val="7AB51D"/>
              </a:solidFill>
              <a:ln w="635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7495-4E71-8681-CAFEF24A06A1}"/>
              </c:ext>
            </c:extLst>
          </c:dPt>
          <c:dPt>
            <c:idx val="18"/>
            <c:invertIfNegative val="0"/>
            <c:bubble3D val="0"/>
            <c:spPr>
              <a:solidFill>
                <a:srgbClr val="00A7DC"/>
              </a:solidFill>
              <a:ln w="635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7495-4E71-8681-CAFEF24A06A1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495-4E71-8681-CAFEF24A06A1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495-4E71-8681-CAFEF24A06A1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495-4E71-8681-CAFEF24A06A1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495-4E71-8681-CAFEF24A06A1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495-4E71-8681-CAFEF24A06A1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495-4E71-8681-CAFEF24A06A1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7495-4E71-8681-CAFEF24A06A1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495-4E71-8681-CAFEF24A06A1}"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7495-4E71-8681-CAFEF24A06A1}"/>
                </c:ext>
              </c:extLst>
            </c:dLbl>
            <c:dLbl>
              <c:idx val="1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495-4E71-8681-CAFEF24A06A1}"/>
                </c:ext>
              </c:extLst>
            </c:dLbl>
            <c:dLbl>
              <c:idx val="1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495-4E71-8681-CAFEF24A06A1}"/>
                </c:ext>
              </c:extLst>
            </c:dLbl>
            <c:dLbl>
              <c:idx val="18"/>
              <c:layout>
                <c:manualLayout>
                  <c:x val="0"/>
                  <c:y val="3.259452411994784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495-4E71-8681-CAFEF24A06A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S$1</c:f>
              <c:numCache>
                <c:formatCode>General</c:formatCode>
                <c:ptCount val="19"/>
                <c:pt idx="0">
                  <c:v>300</c:v>
                </c:pt>
                <c:pt idx="1">
                  <c:v>300</c:v>
                </c:pt>
                <c:pt idx="2">
                  <c:v>300</c:v>
                </c:pt>
                <c:pt idx="4">
                  <c:v>600</c:v>
                </c:pt>
                <c:pt idx="5">
                  <c:v>300</c:v>
                </c:pt>
                <c:pt idx="7">
                  <c:v>500</c:v>
                </c:pt>
                <c:pt idx="8">
                  <c:v>600</c:v>
                </c:pt>
                <c:pt idx="9">
                  <c:v>600</c:v>
                </c:pt>
                <c:pt idx="10">
                  <c:v>1000</c:v>
                </c:pt>
                <c:pt idx="14">
                  <c:v>450</c:v>
                </c:pt>
                <c:pt idx="15">
                  <c:v>875</c:v>
                </c:pt>
                <c:pt idx="18">
                  <c:v>7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495-4E71-8681-CAFEF24A06A1}"/>
            </c:ext>
          </c:extLst>
        </c:ser>
        <c:ser>
          <c:idx val="1"/>
          <c:order val="1"/>
          <c:spPr>
            <a:solidFill>
              <a:srgbClr val="444E54"/>
            </a:solidFill>
            <a:ln w="6350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0A7DC"/>
              </a:solidFill>
              <a:ln w="635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7495-4E71-8681-CAFEF24A06A1}"/>
              </c:ext>
            </c:extLst>
          </c:dPt>
          <c:dPt>
            <c:idx val="8"/>
            <c:invertIfNegative val="0"/>
            <c:bubble3D val="0"/>
            <c:spPr>
              <a:solidFill>
                <a:srgbClr val="00A7DC"/>
              </a:solidFill>
              <a:ln w="635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7495-4E71-8681-CAFEF24A06A1}"/>
              </c:ext>
            </c:extLst>
          </c:dPt>
          <c:dPt>
            <c:idx val="9"/>
            <c:invertIfNegative val="0"/>
            <c:bubble3D val="0"/>
            <c:spPr>
              <a:solidFill>
                <a:srgbClr val="00A7DC"/>
              </a:solidFill>
              <a:ln w="635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7495-4E71-8681-CAFEF24A06A1}"/>
              </c:ext>
            </c:extLst>
          </c:dPt>
          <c:dPt>
            <c:idx val="14"/>
            <c:invertIfNegative val="0"/>
            <c:bubble3D val="0"/>
            <c:spPr>
              <a:solidFill>
                <a:srgbClr val="7AB51D"/>
              </a:solidFill>
              <a:ln w="635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7495-4E71-8681-CAFEF24A06A1}"/>
              </c:ext>
            </c:extLst>
          </c:dPt>
          <c:dPt>
            <c:idx val="15"/>
            <c:invertIfNegative val="0"/>
            <c:bubble3D val="0"/>
            <c:spPr>
              <a:solidFill>
                <a:srgbClr val="7AB51D"/>
              </a:solidFill>
              <a:ln w="635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7495-4E71-8681-CAFEF24A06A1}"/>
              </c:ext>
            </c:extLst>
          </c:dPt>
          <c:dPt>
            <c:idx val="18"/>
            <c:invertIfNegative val="0"/>
            <c:bubble3D val="0"/>
            <c:spPr>
              <a:solidFill>
                <a:srgbClr val="00A7DC"/>
              </a:solidFill>
              <a:ln w="635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2-7495-4E71-8681-CAFEF24A06A1}"/>
              </c:ext>
            </c:extLst>
          </c:dPt>
          <c:dLbls>
            <c:dLbl>
              <c:idx val="1"/>
              <c:layout>
                <c:manualLayout>
                  <c:x val="0"/>
                  <c:y val="3.259452411994784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7495-4E71-8681-CAFEF24A06A1}"/>
                </c:ext>
              </c:extLst>
            </c:dLbl>
            <c:dLbl>
              <c:idx val="2"/>
              <c:layout>
                <c:manualLayout>
                  <c:x val="0"/>
                  <c:y val="3.259452411994784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7495-4E71-8681-CAFEF24A06A1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7495-4E71-8681-CAFEF24A06A1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7495-4E71-8681-CAFEF24A06A1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7495-4E71-8681-CAFEF24A06A1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7495-4E71-8681-CAFEF24A06A1}"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7495-4E71-8681-CAFEF24A06A1}"/>
                </c:ext>
              </c:extLst>
            </c:dLbl>
            <c:dLbl>
              <c:idx val="1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7495-4E71-8681-CAFEF24A06A1}"/>
                </c:ext>
              </c:extLst>
            </c:dLbl>
            <c:dLbl>
              <c:idx val="1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7495-4E71-8681-CAFEF24A06A1}"/>
                </c:ext>
              </c:extLst>
            </c:dLbl>
            <c:dLbl>
              <c:idx val="18"/>
              <c:layout>
                <c:manualLayout>
                  <c:x val="0"/>
                  <c:y val="3.259452411994784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7495-4E71-8681-CAFEF24A06A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S$2</c:f>
              <c:numCache>
                <c:formatCode>General</c:formatCode>
                <c:ptCount val="19"/>
                <c:pt idx="1">
                  <c:v>300</c:v>
                </c:pt>
                <c:pt idx="2">
                  <c:v>120</c:v>
                </c:pt>
                <c:pt idx="4">
                  <c:v>600</c:v>
                </c:pt>
                <c:pt idx="5">
                  <c:v>500</c:v>
                </c:pt>
                <c:pt idx="8">
                  <c:v>500</c:v>
                </c:pt>
                <c:pt idx="9">
                  <c:v>500</c:v>
                </c:pt>
                <c:pt idx="10">
                  <c:v>1000</c:v>
                </c:pt>
                <c:pt idx="14">
                  <c:v>450</c:v>
                </c:pt>
                <c:pt idx="15">
                  <c:v>875</c:v>
                </c:pt>
                <c:pt idx="18">
                  <c:v>7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7495-4E71-8681-CAFEF24A06A1}"/>
            </c:ext>
          </c:extLst>
        </c:ser>
        <c:ser>
          <c:idx val="2"/>
          <c:order val="2"/>
          <c:spPr>
            <a:solidFill>
              <a:srgbClr val="00A7DC"/>
            </a:solidFill>
            <a:ln w="6350" algn="ctr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444E54"/>
              </a:solidFill>
              <a:ln w="635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7495-4E71-8681-CAFEF24A06A1}"/>
              </c:ext>
            </c:extLst>
          </c:dPt>
          <c:dPt>
            <c:idx val="10"/>
            <c:invertIfNegative val="0"/>
            <c:bubble3D val="0"/>
            <c:spPr>
              <a:solidFill>
                <a:srgbClr val="444E54"/>
              </a:solidFill>
              <a:ln w="635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9-7495-4E71-8681-CAFEF24A06A1}"/>
              </c:ext>
            </c:extLst>
          </c:dPt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7495-4E71-8681-CAFEF24A06A1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7495-4E71-8681-CAFEF24A06A1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7495-4E71-8681-CAFEF24A06A1}"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7495-4E71-8681-CAFEF24A06A1}"/>
                </c:ext>
              </c:extLst>
            </c:dLbl>
            <c:dLbl>
              <c:idx val="1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7495-4E71-8681-CAFEF24A06A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S$3</c:f>
              <c:numCache>
                <c:formatCode>General</c:formatCode>
                <c:ptCount val="19"/>
                <c:pt idx="1">
                  <c:v>300</c:v>
                </c:pt>
                <c:pt idx="8">
                  <c:v>500</c:v>
                </c:pt>
                <c:pt idx="9">
                  <c:v>500</c:v>
                </c:pt>
                <c:pt idx="10">
                  <c:v>1000</c:v>
                </c:pt>
                <c:pt idx="18">
                  <c:v>6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7495-4E71-8681-CAFEF24A06A1}"/>
            </c:ext>
          </c:extLst>
        </c:ser>
        <c:ser>
          <c:idx val="3"/>
          <c:order val="3"/>
          <c:spPr>
            <a:solidFill>
              <a:srgbClr val="444E54"/>
            </a:solidFill>
            <a:ln w="6350" algn="ctr">
              <a:solidFill>
                <a:srgbClr val="FFFFFF"/>
              </a:solidFill>
              <a:prstDash val="solid"/>
            </a:ln>
          </c:spPr>
          <c:invertIfNegative val="0"/>
          <c:dPt>
            <c:idx val="18"/>
            <c:invertIfNegative val="0"/>
            <c:bubble3D val="0"/>
            <c:spPr>
              <a:solidFill>
                <a:srgbClr val="00A7DC"/>
              </a:solidFill>
              <a:ln w="635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E-7495-4E71-8681-CAFEF24A06A1}"/>
              </c:ext>
            </c:extLst>
          </c:dPt>
          <c:dLbls>
            <c:dLbl>
              <c:idx val="9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7495-4E71-8681-CAFEF24A06A1}"/>
                </c:ext>
              </c:extLst>
            </c:dLbl>
            <c:dLbl>
              <c:idx val="1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7495-4E71-8681-CAFEF24A06A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S$4</c:f>
              <c:numCache>
                <c:formatCode>General</c:formatCode>
                <c:ptCount val="19"/>
                <c:pt idx="9">
                  <c:v>600</c:v>
                </c:pt>
                <c:pt idx="18">
                  <c:v>8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7495-4E71-8681-CAFEF24A06A1}"/>
            </c:ext>
          </c:extLst>
        </c:ser>
        <c:ser>
          <c:idx val="4"/>
          <c:order val="4"/>
          <c:spPr>
            <a:solidFill>
              <a:srgbClr val="444E54"/>
            </a:solidFill>
            <a:ln w="6350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9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7495-4E71-8681-CAFEF24A06A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S$5</c:f>
              <c:numCache>
                <c:formatCode>General</c:formatCode>
                <c:ptCount val="19"/>
                <c:pt idx="9">
                  <c:v>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7495-4E71-8681-CAFEF24A06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9"/>
        <c:overlap val="100"/>
        <c:axId val="1016098240"/>
        <c:axId val="1"/>
      </c:barChart>
      <c:catAx>
        <c:axId val="1016098240"/>
        <c:scaling>
          <c:orientation val="minMax"/>
        </c:scaling>
        <c:delete val="0"/>
        <c:axPos val="t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axMin"/>
          <c:max val="3000"/>
          <c:min val="0"/>
        </c:scaling>
        <c:delete val="1"/>
        <c:axPos val="r"/>
        <c:numFmt formatCode="General" sourceLinked="1"/>
        <c:majorTickMark val="out"/>
        <c:minorTickMark val="none"/>
        <c:tickLblPos val="nextTo"/>
        <c:crossAx val="1016098240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DayAhead_Preise und CLS Entwicklung 2023_2023-09-11.xlsx]Tabelle1!PivotTable1</c:name>
    <c:fmtId val="-1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 w="28575" cap="rnd">
            <a:solidFill>
              <a:schemeClr val="accent2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 w="28575" cap="rnd">
            <a:solidFill>
              <a:schemeClr val="accent6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 w="28575" cap="rnd">
            <a:solidFill>
              <a:schemeClr val="accent6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 w="28575" cap="rnd">
            <a:solidFill>
              <a:schemeClr val="accent2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 w="28575" cap="rnd">
            <a:solidFill>
              <a:schemeClr val="accent6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 w="28575" cap="rnd">
            <a:solidFill>
              <a:schemeClr val="accent2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y ahead [€/MWh]</c:v>
                </c:pt>
              </c:strCache>
            </c:strRef>
          </c:tx>
          <c:spPr>
            <a:ln w="12700" cap="rnd">
              <a:solidFill>
                <a:srgbClr val="73858F"/>
              </a:solidFill>
              <a:round/>
            </a:ln>
            <a:effectLst/>
          </c:spPr>
          <c:marker>
            <c:symbol val="none"/>
          </c:marker>
          <c:cat>
            <c:multiLvlStrRef>
              <c:f>Tabelle1!$A$2:$A$1018</c:f>
              <c:multiLvlStrCache>
                <c:ptCount val="980"/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3</c:v>
                  </c:pt>
                  <c:pt idx="13">
                    <c:v>14</c:v>
                  </c:pt>
                  <c:pt idx="14">
                    <c:v>15</c:v>
                  </c:pt>
                  <c:pt idx="15">
                    <c:v>16</c:v>
                  </c:pt>
                  <c:pt idx="16">
                    <c:v>17</c:v>
                  </c:pt>
                  <c:pt idx="17">
                    <c:v>18</c:v>
                  </c:pt>
                  <c:pt idx="18">
                    <c:v>19</c:v>
                  </c:pt>
                  <c:pt idx="19">
                    <c:v>20</c:v>
                  </c:pt>
                  <c:pt idx="20">
                    <c:v>21</c:v>
                  </c:pt>
                  <c:pt idx="21">
                    <c:v>22</c:v>
                  </c:pt>
                  <c:pt idx="22">
                    <c:v>23</c:v>
                  </c:pt>
                  <c:pt idx="23">
                    <c:v>24</c:v>
                  </c:pt>
                  <c:pt idx="24">
                    <c:v>25</c:v>
                  </c:pt>
                  <c:pt idx="25">
                    <c:v>26</c:v>
                  </c:pt>
                  <c:pt idx="26">
                    <c:v>27</c:v>
                  </c:pt>
                  <c:pt idx="27">
                    <c:v>28</c:v>
                  </c:pt>
                  <c:pt idx="28">
                    <c:v>29</c:v>
                  </c:pt>
                  <c:pt idx="29">
                    <c:v>30</c:v>
                  </c:pt>
                  <c:pt idx="30">
                    <c:v>31</c:v>
                  </c:pt>
                  <c:pt idx="31">
                    <c:v>1</c:v>
                  </c:pt>
                  <c:pt idx="32">
                    <c:v>2</c:v>
                  </c:pt>
                  <c:pt idx="33">
                    <c:v>3</c:v>
                  </c:pt>
                  <c:pt idx="34">
                    <c:v>4</c:v>
                  </c:pt>
                  <c:pt idx="35">
                    <c:v>5</c:v>
                  </c:pt>
                  <c:pt idx="36">
                    <c:v>6</c:v>
                  </c:pt>
                  <c:pt idx="37">
                    <c:v>7</c:v>
                  </c:pt>
                  <c:pt idx="38">
                    <c:v>8</c:v>
                  </c:pt>
                  <c:pt idx="39">
                    <c:v>9</c:v>
                  </c:pt>
                  <c:pt idx="40">
                    <c:v>10</c:v>
                  </c:pt>
                  <c:pt idx="41">
                    <c:v>11</c:v>
                  </c:pt>
                  <c:pt idx="42">
                    <c:v>12</c:v>
                  </c:pt>
                  <c:pt idx="43">
                    <c:v>13</c:v>
                  </c:pt>
                  <c:pt idx="44">
                    <c:v>14</c:v>
                  </c:pt>
                  <c:pt idx="45">
                    <c:v>15</c:v>
                  </c:pt>
                  <c:pt idx="46">
                    <c:v>16</c:v>
                  </c:pt>
                  <c:pt idx="47">
                    <c:v>17</c:v>
                  </c:pt>
                  <c:pt idx="48">
                    <c:v>18</c:v>
                  </c:pt>
                  <c:pt idx="49">
                    <c:v>19</c:v>
                  </c:pt>
                  <c:pt idx="50">
                    <c:v>20</c:v>
                  </c:pt>
                  <c:pt idx="51">
                    <c:v>21</c:v>
                  </c:pt>
                  <c:pt idx="52">
                    <c:v>22</c:v>
                  </c:pt>
                  <c:pt idx="53">
                    <c:v>23</c:v>
                  </c:pt>
                  <c:pt idx="54">
                    <c:v>24</c:v>
                  </c:pt>
                  <c:pt idx="55">
                    <c:v>25</c:v>
                  </c:pt>
                  <c:pt idx="56">
                    <c:v>26</c:v>
                  </c:pt>
                  <c:pt idx="57">
                    <c:v>27</c:v>
                  </c:pt>
                  <c:pt idx="58">
                    <c:v>28</c:v>
                  </c:pt>
                  <c:pt idx="59">
                    <c:v>1</c:v>
                  </c:pt>
                  <c:pt idx="60">
                    <c:v>2</c:v>
                  </c:pt>
                  <c:pt idx="61">
                    <c:v>3</c:v>
                  </c:pt>
                  <c:pt idx="62">
                    <c:v>4</c:v>
                  </c:pt>
                  <c:pt idx="63">
                    <c:v>5</c:v>
                  </c:pt>
                  <c:pt idx="64">
                    <c:v>6</c:v>
                  </c:pt>
                  <c:pt idx="65">
                    <c:v>7</c:v>
                  </c:pt>
                  <c:pt idx="66">
                    <c:v>8</c:v>
                  </c:pt>
                  <c:pt idx="67">
                    <c:v>9</c:v>
                  </c:pt>
                  <c:pt idx="68">
                    <c:v>10</c:v>
                  </c:pt>
                  <c:pt idx="69">
                    <c:v>11</c:v>
                  </c:pt>
                  <c:pt idx="70">
                    <c:v>12</c:v>
                  </c:pt>
                  <c:pt idx="71">
                    <c:v>13</c:v>
                  </c:pt>
                  <c:pt idx="72">
                    <c:v>14</c:v>
                  </c:pt>
                  <c:pt idx="73">
                    <c:v>15</c:v>
                  </c:pt>
                  <c:pt idx="74">
                    <c:v>16</c:v>
                  </c:pt>
                  <c:pt idx="75">
                    <c:v>17</c:v>
                  </c:pt>
                  <c:pt idx="76">
                    <c:v>18</c:v>
                  </c:pt>
                  <c:pt idx="77">
                    <c:v>19</c:v>
                  </c:pt>
                  <c:pt idx="78">
                    <c:v>20</c:v>
                  </c:pt>
                  <c:pt idx="79">
                    <c:v>21</c:v>
                  </c:pt>
                  <c:pt idx="80">
                    <c:v>22</c:v>
                  </c:pt>
                  <c:pt idx="81">
                    <c:v>23</c:v>
                  </c:pt>
                  <c:pt idx="82">
                    <c:v>24</c:v>
                  </c:pt>
                  <c:pt idx="83">
                    <c:v>25</c:v>
                  </c:pt>
                  <c:pt idx="84">
                    <c:v>26</c:v>
                  </c:pt>
                  <c:pt idx="85">
                    <c:v>27</c:v>
                  </c:pt>
                  <c:pt idx="86">
                    <c:v>28</c:v>
                  </c:pt>
                  <c:pt idx="87">
                    <c:v>29</c:v>
                  </c:pt>
                  <c:pt idx="88">
                    <c:v>30</c:v>
                  </c:pt>
                  <c:pt idx="89">
                    <c:v>31</c:v>
                  </c:pt>
                  <c:pt idx="90">
                    <c:v>1</c:v>
                  </c:pt>
                  <c:pt idx="91">
                    <c:v>2</c:v>
                  </c:pt>
                  <c:pt idx="92">
                    <c:v>3</c:v>
                  </c:pt>
                  <c:pt idx="93">
                    <c:v>4</c:v>
                  </c:pt>
                  <c:pt idx="94">
                    <c:v>5</c:v>
                  </c:pt>
                  <c:pt idx="95">
                    <c:v>6</c:v>
                  </c:pt>
                  <c:pt idx="96">
                    <c:v>7</c:v>
                  </c:pt>
                  <c:pt idx="97">
                    <c:v>8</c:v>
                  </c:pt>
                  <c:pt idx="98">
                    <c:v>9</c:v>
                  </c:pt>
                  <c:pt idx="99">
                    <c:v>10</c:v>
                  </c:pt>
                  <c:pt idx="100">
                    <c:v>11</c:v>
                  </c:pt>
                  <c:pt idx="101">
                    <c:v>12</c:v>
                  </c:pt>
                  <c:pt idx="102">
                    <c:v>13</c:v>
                  </c:pt>
                  <c:pt idx="103">
                    <c:v>14</c:v>
                  </c:pt>
                  <c:pt idx="104">
                    <c:v>15</c:v>
                  </c:pt>
                  <c:pt idx="105">
                    <c:v>16</c:v>
                  </c:pt>
                  <c:pt idx="106">
                    <c:v>17</c:v>
                  </c:pt>
                  <c:pt idx="107">
                    <c:v>18</c:v>
                  </c:pt>
                  <c:pt idx="108">
                    <c:v>19</c:v>
                  </c:pt>
                  <c:pt idx="109">
                    <c:v>20</c:v>
                  </c:pt>
                  <c:pt idx="110">
                    <c:v>21</c:v>
                  </c:pt>
                  <c:pt idx="111">
                    <c:v>22</c:v>
                  </c:pt>
                  <c:pt idx="112">
                    <c:v>23</c:v>
                  </c:pt>
                  <c:pt idx="113">
                    <c:v>24</c:v>
                  </c:pt>
                  <c:pt idx="114">
                    <c:v>25</c:v>
                  </c:pt>
                  <c:pt idx="115">
                    <c:v>26</c:v>
                  </c:pt>
                  <c:pt idx="116">
                    <c:v>27</c:v>
                  </c:pt>
                  <c:pt idx="117">
                    <c:v>28</c:v>
                  </c:pt>
                  <c:pt idx="118">
                    <c:v>29</c:v>
                  </c:pt>
                  <c:pt idx="119">
                    <c:v>30</c:v>
                  </c:pt>
                  <c:pt idx="120">
                    <c:v>1</c:v>
                  </c:pt>
                  <c:pt idx="121">
                    <c:v>2</c:v>
                  </c:pt>
                  <c:pt idx="122">
                    <c:v>3</c:v>
                  </c:pt>
                  <c:pt idx="123">
                    <c:v>4</c:v>
                  </c:pt>
                  <c:pt idx="124">
                    <c:v>5</c:v>
                  </c:pt>
                  <c:pt idx="125">
                    <c:v>6</c:v>
                  </c:pt>
                  <c:pt idx="126">
                    <c:v>7</c:v>
                  </c:pt>
                  <c:pt idx="127">
                    <c:v>8</c:v>
                  </c:pt>
                  <c:pt idx="128">
                    <c:v>9</c:v>
                  </c:pt>
                  <c:pt idx="129">
                    <c:v>10</c:v>
                  </c:pt>
                  <c:pt idx="130">
                    <c:v>11</c:v>
                  </c:pt>
                  <c:pt idx="131">
                    <c:v>12</c:v>
                  </c:pt>
                  <c:pt idx="132">
                    <c:v>13</c:v>
                  </c:pt>
                  <c:pt idx="133">
                    <c:v>14</c:v>
                  </c:pt>
                  <c:pt idx="134">
                    <c:v>15</c:v>
                  </c:pt>
                  <c:pt idx="135">
                    <c:v>16</c:v>
                  </c:pt>
                  <c:pt idx="136">
                    <c:v>17</c:v>
                  </c:pt>
                  <c:pt idx="137">
                    <c:v>18</c:v>
                  </c:pt>
                  <c:pt idx="138">
                    <c:v>19</c:v>
                  </c:pt>
                  <c:pt idx="139">
                    <c:v>20</c:v>
                  </c:pt>
                  <c:pt idx="140">
                    <c:v>21</c:v>
                  </c:pt>
                  <c:pt idx="141">
                    <c:v>22</c:v>
                  </c:pt>
                  <c:pt idx="142">
                    <c:v>23</c:v>
                  </c:pt>
                  <c:pt idx="143">
                    <c:v>24</c:v>
                  </c:pt>
                  <c:pt idx="144">
                    <c:v>25</c:v>
                  </c:pt>
                  <c:pt idx="145">
                    <c:v>26</c:v>
                  </c:pt>
                  <c:pt idx="146">
                    <c:v>27</c:v>
                  </c:pt>
                  <c:pt idx="147">
                    <c:v>28</c:v>
                  </c:pt>
                  <c:pt idx="148">
                    <c:v>29</c:v>
                  </c:pt>
                  <c:pt idx="149">
                    <c:v>30</c:v>
                  </c:pt>
                  <c:pt idx="150">
                    <c:v>31</c:v>
                  </c:pt>
                  <c:pt idx="151">
                    <c:v>1</c:v>
                  </c:pt>
                  <c:pt idx="152">
                    <c:v>2</c:v>
                  </c:pt>
                  <c:pt idx="153">
                    <c:v>3</c:v>
                  </c:pt>
                  <c:pt idx="154">
                    <c:v>4</c:v>
                  </c:pt>
                  <c:pt idx="155">
                    <c:v>5</c:v>
                  </c:pt>
                  <c:pt idx="156">
                    <c:v>6</c:v>
                  </c:pt>
                  <c:pt idx="157">
                    <c:v>7</c:v>
                  </c:pt>
                  <c:pt idx="158">
                    <c:v>8</c:v>
                  </c:pt>
                  <c:pt idx="159">
                    <c:v>9</c:v>
                  </c:pt>
                  <c:pt idx="160">
                    <c:v>10</c:v>
                  </c:pt>
                  <c:pt idx="161">
                    <c:v>11</c:v>
                  </c:pt>
                  <c:pt idx="162">
                    <c:v>12</c:v>
                  </c:pt>
                  <c:pt idx="163">
                    <c:v>13</c:v>
                  </c:pt>
                  <c:pt idx="164">
                    <c:v>14</c:v>
                  </c:pt>
                  <c:pt idx="165">
                    <c:v>15</c:v>
                  </c:pt>
                  <c:pt idx="166">
                    <c:v>16</c:v>
                  </c:pt>
                  <c:pt idx="167">
                    <c:v>17</c:v>
                  </c:pt>
                  <c:pt idx="168">
                    <c:v>18</c:v>
                  </c:pt>
                  <c:pt idx="169">
                    <c:v>19</c:v>
                  </c:pt>
                  <c:pt idx="170">
                    <c:v>20</c:v>
                  </c:pt>
                  <c:pt idx="171">
                    <c:v>21</c:v>
                  </c:pt>
                  <c:pt idx="172">
                    <c:v>22</c:v>
                  </c:pt>
                  <c:pt idx="173">
                    <c:v>23</c:v>
                  </c:pt>
                  <c:pt idx="174">
                    <c:v>24</c:v>
                  </c:pt>
                  <c:pt idx="175">
                    <c:v>25</c:v>
                  </c:pt>
                  <c:pt idx="176">
                    <c:v>26</c:v>
                  </c:pt>
                  <c:pt idx="177">
                    <c:v>27</c:v>
                  </c:pt>
                  <c:pt idx="178">
                    <c:v>28</c:v>
                  </c:pt>
                  <c:pt idx="179">
                    <c:v>29</c:v>
                  </c:pt>
                  <c:pt idx="180">
                    <c:v>30</c:v>
                  </c:pt>
                  <c:pt idx="181">
                    <c:v>1</c:v>
                  </c:pt>
                  <c:pt idx="182">
                    <c:v>2</c:v>
                  </c:pt>
                  <c:pt idx="183">
                    <c:v>3</c:v>
                  </c:pt>
                  <c:pt idx="184">
                    <c:v>4</c:v>
                  </c:pt>
                  <c:pt idx="185">
                    <c:v>5</c:v>
                  </c:pt>
                  <c:pt idx="186">
                    <c:v>6</c:v>
                  </c:pt>
                  <c:pt idx="187">
                    <c:v>7</c:v>
                  </c:pt>
                  <c:pt idx="188">
                    <c:v>8</c:v>
                  </c:pt>
                  <c:pt idx="189">
                    <c:v>9</c:v>
                  </c:pt>
                  <c:pt idx="190">
                    <c:v>10</c:v>
                  </c:pt>
                  <c:pt idx="191">
                    <c:v>11</c:v>
                  </c:pt>
                  <c:pt idx="192">
                    <c:v>12</c:v>
                  </c:pt>
                  <c:pt idx="193">
                    <c:v>13</c:v>
                  </c:pt>
                  <c:pt idx="194">
                    <c:v>14</c:v>
                  </c:pt>
                  <c:pt idx="195">
                    <c:v>15</c:v>
                  </c:pt>
                  <c:pt idx="196">
                    <c:v>16</c:v>
                  </c:pt>
                  <c:pt idx="197">
                    <c:v>17</c:v>
                  </c:pt>
                  <c:pt idx="198">
                    <c:v>18</c:v>
                  </c:pt>
                  <c:pt idx="199">
                    <c:v>19</c:v>
                  </c:pt>
                  <c:pt idx="200">
                    <c:v>20</c:v>
                  </c:pt>
                  <c:pt idx="201">
                    <c:v>21</c:v>
                  </c:pt>
                  <c:pt idx="202">
                    <c:v>22</c:v>
                  </c:pt>
                  <c:pt idx="203">
                    <c:v>23</c:v>
                  </c:pt>
                  <c:pt idx="204">
                    <c:v>24</c:v>
                  </c:pt>
                  <c:pt idx="205">
                    <c:v>25</c:v>
                  </c:pt>
                  <c:pt idx="206">
                    <c:v>26</c:v>
                  </c:pt>
                  <c:pt idx="207">
                    <c:v>27</c:v>
                  </c:pt>
                  <c:pt idx="208">
                    <c:v>28</c:v>
                  </c:pt>
                  <c:pt idx="209">
                    <c:v>29</c:v>
                  </c:pt>
                  <c:pt idx="210">
                    <c:v>30</c:v>
                  </c:pt>
                  <c:pt idx="211">
                    <c:v>31</c:v>
                  </c:pt>
                  <c:pt idx="212">
                    <c:v>1</c:v>
                  </c:pt>
                  <c:pt idx="213">
                    <c:v>2</c:v>
                  </c:pt>
                  <c:pt idx="214">
                    <c:v>3</c:v>
                  </c:pt>
                  <c:pt idx="215">
                    <c:v>4</c:v>
                  </c:pt>
                  <c:pt idx="216">
                    <c:v>5</c:v>
                  </c:pt>
                  <c:pt idx="217">
                    <c:v>6</c:v>
                  </c:pt>
                  <c:pt idx="218">
                    <c:v>7</c:v>
                  </c:pt>
                  <c:pt idx="219">
                    <c:v>8</c:v>
                  </c:pt>
                  <c:pt idx="220">
                    <c:v>9</c:v>
                  </c:pt>
                  <c:pt idx="221">
                    <c:v>10</c:v>
                  </c:pt>
                  <c:pt idx="222">
                    <c:v>11</c:v>
                  </c:pt>
                  <c:pt idx="223">
                    <c:v>12</c:v>
                  </c:pt>
                  <c:pt idx="224">
                    <c:v>13</c:v>
                  </c:pt>
                  <c:pt idx="225">
                    <c:v>14</c:v>
                  </c:pt>
                  <c:pt idx="226">
                    <c:v>15</c:v>
                  </c:pt>
                  <c:pt idx="227">
                    <c:v>16</c:v>
                  </c:pt>
                  <c:pt idx="228">
                    <c:v>17</c:v>
                  </c:pt>
                  <c:pt idx="229">
                    <c:v>18</c:v>
                  </c:pt>
                  <c:pt idx="230">
                    <c:v>19</c:v>
                  </c:pt>
                  <c:pt idx="231">
                    <c:v>20</c:v>
                  </c:pt>
                  <c:pt idx="232">
                    <c:v>21</c:v>
                  </c:pt>
                  <c:pt idx="233">
                    <c:v>22</c:v>
                  </c:pt>
                  <c:pt idx="234">
                    <c:v>23</c:v>
                  </c:pt>
                  <c:pt idx="235">
                    <c:v>24</c:v>
                  </c:pt>
                  <c:pt idx="236">
                    <c:v>25</c:v>
                  </c:pt>
                  <c:pt idx="237">
                    <c:v>26</c:v>
                  </c:pt>
                  <c:pt idx="238">
                    <c:v>27</c:v>
                  </c:pt>
                  <c:pt idx="239">
                    <c:v>28</c:v>
                  </c:pt>
                  <c:pt idx="240">
                    <c:v>29</c:v>
                  </c:pt>
                  <c:pt idx="241">
                    <c:v>30</c:v>
                  </c:pt>
                  <c:pt idx="242">
                    <c:v>31</c:v>
                  </c:pt>
                  <c:pt idx="243">
                    <c:v>1</c:v>
                  </c:pt>
                  <c:pt idx="244">
                    <c:v>2</c:v>
                  </c:pt>
                  <c:pt idx="245">
                    <c:v>3</c:v>
                  </c:pt>
                  <c:pt idx="246">
                    <c:v>4</c:v>
                  </c:pt>
                  <c:pt idx="247">
                    <c:v>5</c:v>
                  </c:pt>
                  <c:pt idx="248">
                    <c:v>6</c:v>
                  </c:pt>
                  <c:pt idx="249">
                    <c:v>7</c:v>
                  </c:pt>
                  <c:pt idx="250">
                    <c:v>8</c:v>
                  </c:pt>
                  <c:pt idx="251">
                    <c:v>9</c:v>
                  </c:pt>
                  <c:pt idx="252">
                    <c:v>10</c:v>
                  </c:pt>
                  <c:pt idx="253">
                    <c:v>11</c:v>
                  </c:pt>
                  <c:pt idx="254">
                    <c:v>12</c:v>
                  </c:pt>
                  <c:pt idx="255">
                    <c:v>13</c:v>
                  </c:pt>
                  <c:pt idx="256">
                    <c:v>14</c:v>
                  </c:pt>
                  <c:pt idx="257">
                    <c:v>15</c:v>
                  </c:pt>
                  <c:pt idx="258">
                    <c:v>16</c:v>
                  </c:pt>
                  <c:pt idx="259">
                    <c:v>17</c:v>
                  </c:pt>
                  <c:pt idx="260">
                    <c:v>18</c:v>
                  </c:pt>
                  <c:pt idx="261">
                    <c:v>19</c:v>
                  </c:pt>
                  <c:pt idx="262">
                    <c:v>20</c:v>
                  </c:pt>
                  <c:pt idx="263">
                    <c:v>21</c:v>
                  </c:pt>
                  <c:pt idx="264">
                    <c:v>22</c:v>
                  </c:pt>
                  <c:pt idx="265">
                    <c:v>23</c:v>
                  </c:pt>
                  <c:pt idx="266">
                    <c:v>24</c:v>
                  </c:pt>
                  <c:pt idx="267">
                    <c:v>25</c:v>
                  </c:pt>
                  <c:pt idx="268">
                    <c:v>26</c:v>
                  </c:pt>
                  <c:pt idx="269">
                    <c:v>27</c:v>
                  </c:pt>
                  <c:pt idx="270">
                    <c:v>28</c:v>
                  </c:pt>
                  <c:pt idx="271">
                    <c:v>29</c:v>
                  </c:pt>
                  <c:pt idx="272">
                    <c:v>30</c:v>
                  </c:pt>
                  <c:pt idx="273">
                    <c:v>1</c:v>
                  </c:pt>
                  <c:pt idx="274">
                    <c:v>2</c:v>
                  </c:pt>
                  <c:pt idx="275">
                    <c:v>3</c:v>
                  </c:pt>
                  <c:pt idx="276">
                    <c:v>4</c:v>
                  </c:pt>
                  <c:pt idx="277">
                    <c:v>5</c:v>
                  </c:pt>
                  <c:pt idx="278">
                    <c:v>6</c:v>
                  </c:pt>
                  <c:pt idx="279">
                    <c:v>7</c:v>
                  </c:pt>
                  <c:pt idx="280">
                    <c:v>8</c:v>
                  </c:pt>
                  <c:pt idx="281">
                    <c:v>9</c:v>
                  </c:pt>
                  <c:pt idx="282">
                    <c:v>10</c:v>
                  </c:pt>
                  <c:pt idx="283">
                    <c:v>11</c:v>
                  </c:pt>
                  <c:pt idx="284">
                    <c:v>12</c:v>
                  </c:pt>
                  <c:pt idx="285">
                    <c:v>13</c:v>
                  </c:pt>
                  <c:pt idx="286">
                    <c:v>14</c:v>
                  </c:pt>
                  <c:pt idx="287">
                    <c:v>15</c:v>
                  </c:pt>
                  <c:pt idx="288">
                    <c:v>16</c:v>
                  </c:pt>
                  <c:pt idx="289">
                    <c:v>17</c:v>
                  </c:pt>
                  <c:pt idx="290">
                    <c:v>18</c:v>
                  </c:pt>
                  <c:pt idx="291">
                    <c:v>19</c:v>
                  </c:pt>
                  <c:pt idx="292">
                    <c:v>20</c:v>
                  </c:pt>
                  <c:pt idx="293">
                    <c:v>21</c:v>
                  </c:pt>
                  <c:pt idx="294">
                    <c:v>22</c:v>
                  </c:pt>
                  <c:pt idx="295">
                    <c:v>23</c:v>
                  </c:pt>
                  <c:pt idx="296">
                    <c:v>24</c:v>
                  </c:pt>
                  <c:pt idx="297">
                    <c:v>25</c:v>
                  </c:pt>
                  <c:pt idx="298">
                    <c:v>26</c:v>
                  </c:pt>
                  <c:pt idx="299">
                    <c:v>27</c:v>
                  </c:pt>
                  <c:pt idx="300">
                    <c:v>28</c:v>
                  </c:pt>
                  <c:pt idx="301">
                    <c:v>29</c:v>
                  </c:pt>
                  <c:pt idx="302">
                    <c:v>30</c:v>
                  </c:pt>
                  <c:pt idx="303">
                    <c:v>31</c:v>
                  </c:pt>
                  <c:pt idx="304">
                    <c:v>1</c:v>
                  </c:pt>
                  <c:pt idx="305">
                    <c:v>2</c:v>
                  </c:pt>
                  <c:pt idx="306">
                    <c:v>3</c:v>
                  </c:pt>
                  <c:pt idx="307">
                    <c:v>4</c:v>
                  </c:pt>
                  <c:pt idx="308">
                    <c:v>5</c:v>
                  </c:pt>
                  <c:pt idx="309">
                    <c:v>6</c:v>
                  </c:pt>
                  <c:pt idx="310">
                    <c:v>7</c:v>
                  </c:pt>
                  <c:pt idx="311">
                    <c:v>8</c:v>
                  </c:pt>
                  <c:pt idx="312">
                    <c:v>9</c:v>
                  </c:pt>
                  <c:pt idx="313">
                    <c:v>10</c:v>
                  </c:pt>
                  <c:pt idx="314">
                    <c:v>11</c:v>
                  </c:pt>
                  <c:pt idx="315">
                    <c:v>12</c:v>
                  </c:pt>
                  <c:pt idx="316">
                    <c:v>13</c:v>
                  </c:pt>
                  <c:pt idx="317">
                    <c:v>14</c:v>
                  </c:pt>
                  <c:pt idx="318">
                    <c:v>15</c:v>
                  </c:pt>
                  <c:pt idx="319">
                    <c:v>16</c:v>
                  </c:pt>
                  <c:pt idx="320">
                    <c:v>17</c:v>
                  </c:pt>
                  <c:pt idx="321">
                    <c:v>18</c:v>
                  </c:pt>
                  <c:pt idx="322">
                    <c:v>19</c:v>
                  </c:pt>
                  <c:pt idx="323">
                    <c:v>20</c:v>
                  </c:pt>
                  <c:pt idx="324">
                    <c:v>21</c:v>
                  </c:pt>
                  <c:pt idx="325">
                    <c:v>22</c:v>
                  </c:pt>
                  <c:pt idx="326">
                    <c:v>23</c:v>
                  </c:pt>
                  <c:pt idx="327">
                    <c:v>24</c:v>
                  </c:pt>
                  <c:pt idx="328">
                    <c:v>25</c:v>
                  </c:pt>
                  <c:pt idx="329">
                    <c:v>26</c:v>
                  </c:pt>
                  <c:pt idx="330">
                    <c:v>27</c:v>
                  </c:pt>
                  <c:pt idx="331">
                    <c:v>28</c:v>
                  </c:pt>
                  <c:pt idx="332">
                    <c:v>29</c:v>
                  </c:pt>
                  <c:pt idx="333">
                    <c:v>30</c:v>
                  </c:pt>
                  <c:pt idx="334">
                    <c:v>1</c:v>
                  </c:pt>
                  <c:pt idx="335">
                    <c:v>2</c:v>
                  </c:pt>
                  <c:pt idx="336">
                    <c:v>3</c:v>
                  </c:pt>
                  <c:pt idx="337">
                    <c:v>4</c:v>
                  </c:pt>
                  <c:pt idx="338">
                    <c:v>5</c:v>
                  </c:pt>
                  <c:pt idx="339">
                    <c:v>6</c:v>
                  </c:pt>
                  <c:pt idx="340">
                    <c:v>7</c:v>
                  </c:pt>
                  <c:pt idx="341">
                    <c:v>8</c:v>
                  </c:pt>
                  <c:pt idx="342">
                    <c:v>9</c:v>
                  </c:pt>
                  <c:pt idx="343">
                    <c:v>10</c:v>
                  </c:pt>
                  <c:pt idx="344">
                    <c:v>11</c:v>
                  </c:pt>
                  <c:pt idx="345">
                    <c:v>12</c:v>
                  </c:pt>
                  <c:pt idx="346">
                    <c:v>13</c:v>
                  </c:pt>
                  <c:pt idx="347">
                    <c:v>14</c:v>
                  </c:pt>
                  <c:pt idx="348">
                    <c:v>15</c:v>
                  </c:pt>
                  <c:pt idx="349">
                    <c:v>16</c:v>
                  </c:pt>
                  <c:pt idx="350">
                    <c:v>17</c:v>
                  </c:pt>
                  <c:pt idx="351">
                    <c:v>18</c:v>
                  </c:pt>
                  <c:pt idx="352">
                    <c:v>19</c:v>
                  </c:pt>
                  <c:pt idx="353">
                    <c:v>20</c:v>
                  </c:pt>
                  <c:pt idx="354">
                    <c:v>21</c:v>
                  </c:pt>
                  <c:pt idx="355">
                    <c:v>22</c:v>
                  </c:pt>
                  <c:pt idx="356">
                    <c:v>23</c:v>
                  </c:pt>
                  <c:pt idx="357">
                    <c:v>24</c:v>
                  </c:pt>
                  <c:pt idx="358">
                    <c:v>25</c:v>
                  </c:pt>
                  <c:pt idx="359">
                    <c:v>26</c:v>
                  </c:pt>
                  <c:pt idx="360">
                    <c:v>27</c:v>
                  </c:pt>
                  <c:pt idx="361">
                    <c:v>28</c:v>
                  </c:pt>
                  <c:pt idx="362">
                    <c:v>29</c:v>
                  </c:pt>
                  <c:pt idx="363">
                    <c:v>30</c:v>
                  </c:pt>
                  <c:pt idx="364">
                    <c:v>31</c:v>
                  </c:pt>
                  <c:pt idx="365">
                    <c:v>1</c:v>
                  </c:pt>
                  <c:pt idx="366">
                    <c:v>2</c:v>
                  </c:pt>
                  <c:pt idx="367">
                    <c:v>3</c:v>
                  </c:pt>
                  <c:pt idx="368">
                    <c:v>4</c:v>
                  </c:pt>
                  <c:pt idx="369">
                    <c:v>5</c:v>
                  </c:pt>
                  <c:pt idx="370">
                    <c:v>6</c:v>
                  </c:pt>
                  <c:pt idx="371">
                    <c:v>7</c:v>
                  </c:pt>
                  <c:pt idx="372">
                    <c:v>8</c:v>
                  </c:pt>
                  <c:pt idx="373">
                    <c:v>9</c:v>
                  </c:pt>
                  <c:pt idx="374">
                    <c:v>10</c:v>
                  </c:pt>
                  <c:pt idx="375">
                    <c:v>11</c:v>
                  </c:pt>
                  <c:pt idx="376">
                    <c:v>12</c:v>
                  </c:pt>
                  <c:pt idx="377">
                    <c:v>13</c:v>
                  </c:pt>
                  <c:pt idx="378">
                    <c:v>14</c:v>
                  </c:pt>
                  <c:pt idx="379">
                    <c:v>15</c:v>
                  </c:pt>
                  <c:pt idx="380">
                    <c:v>16</c:v>
                  </c:pt>
                  <c:pt idx="381">
                    <c:v>17</c:v>
                  </c:pt>
                  <c:pt idx="382">
                    <c:v>18</c:v>
                  </c:pt>
                  <c:pt idx="383">
                    <c:v>19</c:v>
                  </c:pt>
                  <c:pt idx="384">
                    <c:v>20</c:v>
                  </c:pt>
                  <c:pt idx="385">
                    <c:v>21</c:v>
                  </c:pt>
                  <c:pt idx="386">
                    <c:v>22</c:v>
                  </c:pt>
                  <c:pt idx="387">
                    <c:v>23</c:v>
                  </c:pt>
                  <c:pt idx="388">
                    <c:v>24</c:v>
                  </c:pt>
                  <c:pt idx="389">
                    <c:v>25</c:v>
                  </c:pt>
                  <c:pt idx="390">
                    <c:v>26</c:v>
                  </c:pt>
                  <c:pt idx="391">
                    <c:v>27</c:v>
                  </c:pt>
                  <c:pt idx="392">
                    <c:v>28</c:v>
                  </c:pt>
                  <c:pt idx="393">
                    <c:v>29</c:v>
                  </c:pt>
                  <c:pt idx="394">
                    <c:v>30</c:v>
                  </c:pt>
                  <c:pt idx="395">
                    <c:v>31</c:v>
                  </c:pt>
                  <c:pt idx="396">
                    <c:v>1</c:v>
                  </c:pt>
                  <c:pt idx="397">
                    <c:v>2</c:v>
                  </c:pt>
                  <c:pt idx="398">
                    <c:v>3</c:v>
                  </c:pt>
                  <c:pt idx="399">
                    <c:v>4</c:v>
                  </c:pt>
                  <c:pt idx="400">
                    <c:v>5</c:v>
                  </c:pt>
                  <c:pt idx="401">
                    <c:v>6</c:v>
                  </c:pt>
                  <c:pt idx="402">
                    <c:v>7</c:v>
                  </c:pt>
                  <c:pt idx="403">
                    <c:v>8</c:v>
                  </c:pt>
                  <c:pt idx="404">
                    <c:v>9</c:v>
                  </c:pt>
                  <c:pt idx="405">
                    <c:v>10</c:v>
                  </c:pt>
                  <c:pt idx="406">
                    <c:v>11</c:v>
                  </c:pt>
                  <c:pt idx="407">
                    <c:v>12</c:v>
                  </c:pt>
                  <c:pt idx="408">
                    <c:v>13</c:v>
                  </c:pt>
                  <c:pt idx="409">
                    <c:v>14</c:v>
                  </c:pt>
                  <c:pt idx="410">
                    <c:v>15</c:v>
                  </c:pt>
                  <c:pt idx="411">
                    <c:v>16</c:v>
                  </c:pt>
                  <c:pt idx="412">
                    <c:v>17</c:v>
                  </c:pt>
                  <c:pt idx="413">
                    <c:v>18</c:v>
                  </c:pt>
                  <c:pt idx="414">
                    <c:v>19</c:v>
                  </c:pt>
                  <c:pt idx="415">
                    <c:v>20</c:v>
                  </c:pt>
                  <c:pt idx="416">
                    <c:v>21</c:v>
                  </c:pt>
                  <c:pt idx="417">
                    <c:v>22</c:v>
                  </c:pt>
                  <c:pt idx="418">
                    <c:v>23</c:v>
                  </c:pt>
                  <c:pt idx="419">
                    <c:v>24</c:v>
                  </c:pt>
                  <c:pt idx="420">
                    <c:v>25</c:v>
                  </c:pt>
                  <c:pt idx="421">
                    <c:v>26</c:v>
                  </c:pt>
                  <c:pt idx="422">
                    <c:v>27</c:v>
                  </c:pt>
                  <c:pt idx="423">
                    <c:v>28</c:v>
                  </c:pt>
                  <c:pt idx="424">
                    <c:v>1</c:v>
                  </c:pt>
                  <c:pt idx="425">
                    <c:v>2</c:v>
                  </c:pt>
                  <c:pt idx="426">
                    <c:v>3</c:v>
                  </c:pt>
                  <c:pt idx="427">
                    <c:v>4</c:v>
                  </c:pt>
                  <c:pt idx="428">
                    <c:v>5</c:v>
                  </c:pt>
                  <c:pt idx="429">
                    <c:v>6</c:v>
                  </c:pt>
                  <c:pt idx="430">
                    <c:v>7</c:v>
                  </c:pt>
                  <c:pt idx="431">
                    <c:v>8</c:v>
                  </c:pt>
                  <c:pt idx="432">
                    <c:v>9</c:v>
                  </c:pt>
                  <c:pt idx="433">
                    <c:v>10</c:v>
                  </c:pt>
                  <c:pt idx="434">
                    <c:v>11</c:v>
                  </c:pt>
                  <c:pt idx="435">
                    <c:v>12</c:v>
                  </c:pt>
                  <c:pt idx="436">
                    <c:v>13</c:v>
                  </c:pt>
                  <c:pt idx="437">
                    <c:v>14</c:v>
                  </c:pt>
                  <c:pt idx="438">
                    <c:v>15</c:v>
                  </c:pt>
                  <c:pt idx="439">
                    <c:v>16</c:v>
                  </c:pt>
                  <c:pt idx="440">
                    <c:v>17</c:v>
                  </c:pt>
                  <c:pt idx="441">
                    <c:v>18</c:v>
                  </c:pt>
                  <c:pt idx="442">
                    <c:v>19</c:v>
                  </c:pt>
                  <c:pt idx="443">
                    <c:v>20</c:v>
                  </c:pt>
                  <c:pt idx="444">
                    <c:v>21</c:v>
                  </c:pt>
                  <c:pt idx="445">
                    <c:v>22</c:v>
                  </c:pt>
                  <c:pt idx="446">
                    <c:v>23</c:v>
                  </c:pt>
                  <c:pt idx="447">
                    <c:v>24</c:v>
                  </c:pt>
                  <c:pt idx="448">
                    <c:v>25</c:v>
                  </c:pt>
                  <c:pt idx="449">
                    <c:v>26</c:v>
                  </c:pt>
                  <c:pt idx="450">
                    <c:v>27</c:v>
                  </c:pt>
                  <c:pt idx="451">
                    <c:v>28</c:v>
                  </c:pt>
                  <c:pt idx="452">
                    <c:v>29</c:v>
                  </c:pt>
                  <c:pt idx="453">
                    <c:v>30</c:v>
                  </c:pt>
                  <c:pt idx="454">
                    <c:v>31</c:v>
                  </c:pt>
                  <c:pt idx="455">
                    <c:v>1</c:v>
                  </c:pt>
                  <c:pt idx="456">
                    <c:v>2</c:v>
                  </c:pt>
                  <c:pt idx="457">
                    <c:v>3</c:v>
                  </c:pt>
                  <c:pt idx="458">
                    <c:v>4</c:v>
                  </c:pt>
                  <c:pt idx="459">
                    <c:v>5</c:v>
                  </c:pt>
                  <c:pt idx="460">
                    <c:v>6</c:v>
                  </c:pt>
                  <c:pt idx="461">
                    <c:v>7</c:v>
                  </c:pt>
                  <c:pt idx="462">
                    <c:v>8</c:v>
                  </c:pt>
                  <c:pt idx="463">
                    <c:v>9</c:v>
                  </c:pt>
                  <c:pt idx="464">
                    <c:v>10</c:v>
                  </c:pt>
                  <c:pt idx="465">
                    <c:v>11</c:v>
                  </c:pt>
                  <c:pt idx="466">
                    <c:v>12</c:v>
                  </c:pt>
                  <c:pt idx="467">
                    <c:v>13</c:v>
                  </c:pt>
                  <c:pt idx="468">
                    <c:v>14</c:v>
                  </c:pt>
                  <c:pt idx="469">
                    <c:v>15</c:v>
                  </c:pt>
                  <c:pt idx="470">
                    <c:v>16</c:v>
                  </c:pt>
                  <c:pt idx="471">
                    <c:v>17</c:v>
                  </c:pt>
                  <c:pt idx="472">
                    <c:v>18</c:v>
                  </c:pt>
                  <c:pt idx="473">
                    <c:v>19</c:v>
                  </c:pt>
                  <c:pt idx="474">
                    <c:v>20</c:v>
                  </c:pt>
                  <c:pt idx="475">
                    <c:v>21</c:v>
                  </c:pt>
                  <c:pt idx="476">
                    <c:v>22</c:v>
                  </c:pt>
                  <c:pt idx="477">
                    <c:v>23</c:v>
                  </c:pt>
                  <c:pt idx="478">
                    <c:v>24</c:v>
                  </c:pt>
                  <c:pt idx="479">
                    <c:v>25</c:v>
                  </c:pt>
                  <c:pt idx="480">
                    <c:v>26</c:v>
                  </c:pt>
                  <c:pt idx="481">
                    <c:v>27</c:v>
                  </c:pt>
                  <c:pt idx="482">
                    <c:v>28</c:v>
                  </c:pt>
                  <c:pt idx="483">
                    <c:v>29</c:v>
                  </c:pt>
                  <c:pt idx="484">
                    <c:v>30</c:v>
                  </c:pt>
                  <c:pt idx="485">
                    <c:v>1</c:v>
                  </c:pt>
                  <c:pt idx="486">
                    <c:v>2</c:v>
                  </c:pt>
                  <c:pt idx="487">
                    <c:v>3</c:v>
                  </c:pt>
                  <c:pt idx="488">
                    <c:v>4</c:v>
                  </c:pt>
                  <c:pt idx="489">
                    <c:v>5</c:v>
                  </c:pt>
                  <c:pt idx="490">
                    <c:v>6</c:v>
                  </c:pt>
                  <c:pt idx="491">
                    <c:v>7</c:v>
                  </c:pt>
                  <c:pt idx="492">
                    <c:v>8</c:v>
                  </c:pt>
                  <c:pt idx="493">
                    <c:v>9</c:v>
                  </c:pt>
                  <c:pt idx="494">
                    <c:v>10</c:v>
                  </c:pt>
                  <c:pt idx="495">
                    <c:v>11</c:v>
                  </c:pt>
                  <c:pt idx="496">
                    <c:v>12</c:v>
                  </c:pt>
                  <c:pt idx="497">
                    <c:v>13</c:v>
                  </c:pt>
                  <c:pt idx="498">
                    <c:v>14</c:v>
                  </c:pt>
                  <c:pt idx="499">
                    <c:v>15</c:v>
                  </c:pt>
                  <c:pt idx="500">
                    <c:v>16</c:v>
                  </c:pt>
                  <c:pt idx="501">
                    <c:v>17</c:v>
                  </c:pt>
                  <c:pt idx="502">
                    <c:v>18</c:v>
                  </c:pt>
                  <c:pt idx="503">
                    <c:v>19</c:v>
                  </c:pt>
                  <c:pt idx="504">
                    <c:v>20</c:v>
                  </c:pt>
                  <c:pt idx="505">
                    <c:v>21</c:v>
                  </c:pt>
                  <c:pt idx="506">
                    <c:v>22</c:v>
                  </c:pt>
                  <c:pt idx="507">
                    <c:v>23</c:v>
                  </c:pt>
                  <c:pt idx="508">
                    <c:v>24</c:v>
                  </c:pt>
                  <c:pt idx="509">
                    <c:v>25</c:v>
                  </c:pt>
                  <c:pt idx="510">
                    <c:v>26</c:v>
                  </c:pt>
                  <c:pt idx="511">
                    <c:v>27</c:v>
                  </c:pt>
                  <c:pt idx="512">
                    <c:v>28</c:v>
                  </c:pt>
                  <c:pt idx="513">
                    <c:v>29</c:v>
                  </c:pt>
                  <c:pt idx="514">
                    <c:v>30</c:v>
                  </c:pt>
                  <c:pt idx="515">
                    <c:v>31</c:v>
                  </c:pt>
                  <c:pt idx="516">
                    <c:v>1</c:v>
                  </c:pt>
                  <c:pt idx="517">
                    <c:v>2</c:v>
                  </c:pt>
                  <c:pt idx="518">
                    <c:v>3</c:v>
                  </c:pt>
                  <c:pt idx="519">
                    <c:v>4</c:v>
                  </c:pt>
                  <c:pt idx="520">
                    <c:v>5</c:v>
                  </c:pt>
                  <c:pt idx="521">
                    <c:v>6</c:v>
                  </c:pt>
                  <c:pt idx="522">
                    <c:v>7</c:v>
                  </c:pt>
                  <c:pt idx="523">
                    <c:v>8</c:v>
                  </c:pt>
                  <c:pt idx="524">
                    <c:v>9</c:v>
                  </c:pt>
                  <c:pt idx="525">
                    <c:v>10</c:v>
                  </c:pt>
                  <c:pt idx="526">
                    <c:v>11</c:v>
                  </c:pt>
                  <c:pt idx="527">
                    <c:v>12</c:v>
                  </c:pt>
                  <c:pt idx="528">
                    <c:v>13</c:v>
                  </c:pt>
                  <c:pt idx="529">
                    <c:v>14</c:v>
                  </c:pt>
                  <c:pt idx="530">
                    <c:v>15</c:v>
                  </c:pt>
                  <c:pt idx="531">
                    <c:v>16</c:v>
                  </c:pt>
                  <c:pt idx="532">
                    <c:v>17</c:v>
                  </c:pt>
                  <c:pt idx="533">
                    <c:v>18</c:v>
                  </c:pt>
                  <c:pt idx="534">
                    <c:v>19</c:v>
                  </c:pt>
                  <c:pt idx="535">
                    <c:v>20</c:v>
                  </c:pt>
                  <c:pt idx="536">
                    <c:v>21</c:v>
                  </c:pt>
                  <c:pt idx="537">
                    <c:v>22</c:v>
                  </c:pt>
                  <c:pt idx="538">
                    <c:v>23</c:v>
                  </c:pt>
                  <c:pt idx="539">
                    <c:v>24</c:v>
                  </c:pt>
                  <c:pt idx="540">
                    <c:v>25</c:v>
                  </c:pt>
                  <c:pt idx="541">
                    <c:v>26</c:v>
                  </c:pt>
                  <c:pt idx="542">
                    <c:v>27</c:v>
                  </c:pt>
                  <c:pt idx="543">
                    <c:v>28</c:v>
                  </c:pt>
                  <c:pt idx="544">
                    <c:v>29</c:v>
                  </c:pt>
                  <c:pt idx="545">
                    <c:v>30</c:v>
                  </c:pt>
                  <c:pt idx="546">
                    <c:v>1</c:v>
                  </c:pt>
                  <c:pt idx="547">
                    <c:v>2</c:v>
                  </c:pt>
                  <c:pt idx="548">
                    <c:v>3</c:v>
                  </c:pt>
                  <c:pt idx="549">
                    <c:v>4</c:v>
                  </c:pt>
                  <c:pt idx="550">
                    <c:v>5</c:v>
                  </c:pt>
                  <c:pt idx="551">
                    <c:v>6</c:v>
                  </c:pt>
                  <c:pt idx="552">
                    <c:v>7</c:v>
                  </c:pt>
                  <c:pt idx="553">
                    <c:v>8</c:v>
                  </c:pt>
                  <c:pt idx="554">
                    <c:v>9</c:v>
                  </c:pt>
                  <c:pt idx="555">
                    <c:v>10</c:v>
                  </c:pt>
                  <c:pt idx="556">
                    <c:v>11</c:v>
                  </c:pt>
                  <c:pt idx="557">
                    <c:v>12</c:v>
                  </c:pt>
                  <c:pt idx="558">
                    <c:v>13</c:v>
                  </c:pt>
                  <c:pt idx="559">
                    <c:v>14</c:v>
                  </c:pt>
                  <c:pt idx="560">
                    <c:v>15</c:v>
                  </c:pt>
                  <c:pt idx="561">
                    <c:v>16</c:v>
                  </c:pt>
                  <c:pt idx="562">
                    <c:v>17</c:v>
                  </c:pt>
                  <c:pt idx="563">
                    <c:v>18</c:v>
                  </c:pt>
                  <c:pt idx="564">
                    <c:v>19</c:v>
                  </c:pt>
                  <c:pt idx="565">
                    <c:v>20</c:v>
                  </c:pt>
                  <c:pt idx="566">
                    <c:v>21</c:v>
                  </c:pt>
                  <c:pt idx="567">
                    <c:v>22</c:v>
                  </c:pt>
                  <c:pt idx="568">
                    <c:v>23</c:v>
                  </c:pt>
                  <c:pt idx="569">
                    <c:v>24</c:v>
                  </c:pt>
                  <c:pt idx="570">
                    <c:v>25</c:v>
                  </c:pt>
                  <c:pt idx="571">
                    <c:v>26</c:v>
                  </c:pt>
                  <c:pt idx="572">
                    <c:v>27</c:v>
                  </c:pt>
                  <c:pt idx="573">
                    <c:v>28</c:v>
                  </c:pt>
                  <c:pt idx="574">
                    <c:v>29</c:v>
                  </c:pt>
                  <c:pt idx="575">
                    <c:v>30</c:v>
                  </c:pt>
                  <c:pt idx="576">
                    <c:v>31</c:v>
                  </c:pt>
                  <c:pt idx="577">
                    <c:v>1</c:v>
                  </c:pt>
                  <c:pt idx="578">
                    <c:v>2</c:v>
                  </c:pt>
                  <c:pt idx="579">
                    <c:v>3</c:v>
                  </c:pt>
                  <c:pt idx="580">
                    <c:v>4</c:v>
                  </c:pt>
                  <c:pt idx="581">
                    <c:v>5</c:v>
                  </c:pt>
                  <c:pt idx="582">
                    <c:v>6</c:v>
                  </c:pt>
                  <c:pt idx="583">
                    <c:v>7</c:v>
                  </c:pt>
                  <c:pt idx="584">
                    <c:v>8</c:v>
                  </c:pt>
                  <c:pt idx="585">
                    <c:v>9</c:v>
                  </c:pt>
                  <c:pt idx="586">
                    <c:v>10</c:v>
                  </c:pt>
                  <c:pt idx="587">
                    <c:v>11</c:v>
                  </c:pt>
                  <c:pt idx="588">
                    <c:v>12</c:v>
                  </c:pt>
                  <c:pt idx="589">
                    <c:v>13</c:v>
                  </c:pt>
                  <c:pt idx="590">
                    <c:v>14</c:v>
                  </c:pt>
                  <c:pt idx="591">
                    <c:v>15</c:v>
                  </c:pt>
                  <c:pt idx="592">
                    <c:v>16</c:v>
                  </c:pt>
                  <c:pt idx="593">
                    <c:v>17</c:v>
                  </c:pt>
                  <c:pt idx="594">
                    <c:v>18</c:v>
                  </c:pt>
                  <c:pt idx="595">
                    <c:v>19</c:v>
                  </c:pt>
                  <c:pt idx="596">
                    <c:v>20</c:v>
                  </c:pt>
                  <c:pt idx="597">
                    <c:v>21</c:v>
                  </c:pt>
                  <c:pt idx="598">
                    <c:v>22</c:v>
                  </c:pt>
                  <c:pt idx="599">
                    <c:v>23</c:v>
                  </c:pt>
                  <c:pt idx="600">
                    <c:v>24</c:v>
                  </c:pt>
                  <c:pt idx="601">
                    <c:v>25</c:v>
                  </c:pt>
                  <c:pt idx="602">
                    <c:v>26</c:v>
                  </c:pt>
                  <c:pt idx="603">
                    <c:v>27</c:v>
                  </c:pt>
                  <c:pt idx="604">
                    <c:v>28</c:v>
                  </c:pt>
                  <c:pt idx="605">
                    <c:v>29</c:v>
                  </c:pt>
                  <c:pt idx="606">
                    <c:v>30</c:v>
                  </c:pt>
                  <c:pt idx="607">
                    <c:v>31</c:v>
                  </c:pt>
                  <c:pt idx="608">
                    <c:v>1</c:v>
                  </c:pt>
                  <c:pt idx="609">
                    <c:v>2</c:v>
                  </c:pt>
                  <c:pt idx="610">
                    <c:v>3</c:v>
                  </c:pt>
                  <c:pt idx="611">
                    <c:v>4</c:v>
                  </c:pt>
                  <c:pt idx="612">
                    <c:v>5</c:v>
                  </c:pt>
                  <c:pt idx="613">
                    <c:v>6</c:v>
                  </c:pt>
                  <c:pt idx="614">
                    <c:v>7</c:v>
                  </c:pt>
                  <c:pt idx="615">
                    <c:v>8</c:v>
                  </c:pt>
                  <c:pt idx="616">
                    <c:v>9</c:v>
                  </c:pt>
                  <c:pt idx="617">
                    <c:v>10</c:v>
                  </c:pt>
                  <c:pt idx="618">
                    <c:v>11</c:v>
                  </c:pt>
                  <c:pt idx="619">
                    <c:v>12</c:v>
                  </c:pt>
                  <c:pt idx="620">
                    <c:v>13</c:v>
                  </c:pt>
                  <c:pt idx="621">
                    <c:v>14</c:v>
                  </c:pt>
                  <c:pt idx="622">
                    <c:v>15</c:v>
                  </c:pt>
                  <c:pt idx="623">
                    <c:v>16</c:v>
                  </c:pt>
                  <c:pt idx="624">
                    <c:v>17</c:v>
                  </c:pt>
                  <c:pt idx="625">
                    <c:v>18</c:v>
                  </c:pt>
                  <c:pt idx="626">
                    <c:v>19</c:v>
                  </c:pt>
                  <c:pt idx="627">
                    <c:v>20</c:v>
                  </c:pt>
                  <c:pt idx="628">
                    <c:v>21</c:v>
                  </c:pt>
                  <c:pt idx="629">
                    <c:v>22</c:v>
                  </c:pt>
                  <c:pt idx="630">
                    <c:v>23</c:v>
                  </c:pt>
                  <c:pt idx="631">
                    <c:v>24</c:v>
                  </c:pt>
                  <c:pt idx="632">
                    <c:v>25</c:v>
                  </c:pt>
                  <c:pt idx="633">
                    <c:v>26</c:v>
                  </c:pt>
                  <c:pt idx="634">
                    <c:v>27</c:v>
                  </c:pt>
                  <c:pt idx="635">
                    <c:v>28</c:v>
                  </c:pt>
                  <c:pt idx="636">
                    <c:v>29</c:v>
                  </c:pt>
                  <c:pt idx="637">
                    <c:v>30</c:v>
                  </c:pt>
                  <c:pt idx="638">
                    <c:v>1</c:v>
                  </c:pt>
                  <c:pt idx="639">
                    <c:v>2</c:v>
                  </c:pt>
                  <c:pt idx="640">
                    <c:v>3</c:v>
                  </c:pt>
                  <c:pt idx="641">
                    <c:v>4</c:v>
                  </c:pt>
                  <c:pt idx="642">
                    <c:v>5</c:v>
                  </c:pt>
                  <c:pt idx="643">
                    <c:v>6</c:v>
                  </c:pt>
                  <c:pt idx="644">
                    <c:v>7</c:v>
                  </c:pt>
                  <c:pt idx="645">
                    <c:v>8</c:v>
                  </c:pt>
                  <c:pt idx="646">
                    <c:v>9</c:v>
                  </c:pt>
                  <c:pt idx="647">
                    <c:v>10</c:v>
                  </c:pt>
                  <c:pt idx="648">
                    <c:v>11</c:v>
                  </c:pt>
                  <c:pt idx="649">
                    <c:v>12</c:v>
                  </c:pt>
                  <c:pt idx="650">
                    <c:v>13</c:v>
                  </c:pt>
                  <c:pt idx="651">
                    <c:v>14</c:v>
                  </c:pt>
                  <c:pt idx="652">
                    <c:v>15</c:v>
                  </c:pt>
                  <c:pt idx="653">
                    <c:v>16</c:v>
                  </c:pt>
                  <c:pt idx="654">
                    <c:v>17</c:v>
                  </c:pt>
                  <c:pt idx="655">
                    <c:v>18</c:v>
                  </c:pt>
                  <c:pt idx="656">
                    <c:v>19</c:v>
                  </c:pt>
                  <c:pt idx="657">
                    <c:v>20</c:v>
                  </c:pt>
                  <c:pt idx="658">
                    <c:v>21</c:v>
                  </c:pt>
                  <c:pt idx="659">
                    <c:v>22</c:v>
                  </c:pt>
                  <c:pt idx="660">
                    <c:v>23</c:v>
                  </c:pt>
                  <c:pt idx="661">
                    <c:v>24</c:v>
                  </c:pt>
                  <c:pt idx="662">
                    <c:v>25</c:v>
                  </c:pt>
                  <c:pt idx="663">
                    <c:v>26</c:v>
                  </c:pt>
                  <c:pt idx="664">
                    <c:v>27</c:v>
                  </c:pt>
                  <c:pt idx="665">
                    <c:v>28</c:v>
                  </c:pt>
                  <c:pt idx="666">
                    <c:v>29</c:v>
                  </c:pt>
                  <c:pt idx="667">
                    <c:v>30</c:v>
                  </c:pt>
                  <c:pt idx="668">
                    <c:v>31</c:v>
                  </c:pt>
                  <c:pt idx="669">
                    <c:v>1</c:v>
                  </c:pt>
                  <c:pt idx="670">
                    <c:v>2</c:v>
                  </c:pt>
                  <c:pt idx="671">
                    <c:v>3</c:v>
                  </c:pt>
                  <c:pt idx="672">
                    <c:v>4</c:v>
                  </c:pt>
                  <c:pt idx="673">
                    <c:v>5</c:v>
                  </c:pt>
                  <c:pt idx="674">
                    <c:v>6</c:v>
                  </c:pt>
                  <c:pt idx="675">
                    <c:v>7</c:v>
                  </c:pt>
                  <c:pt idx="676">
                    <c:v>8</c:v>
                  </c:pt>
                  <c:pt idx="677">
                    <c:v>9</c:v>
                  </c:pt>
                  <c:pt idx="678">
                    <c:v>10</c:v>
                  </c:pt>
                  <c:pt idx="679">
                    <c:v>11</c:v>
                  </c:pt>
                  <c:pt idx="680">
                    <c:v>12</c:v>
                  </c:pt>
                  <c:pt idx="681">
                    <c:v>13</c:v>
                  </c:pt>
                  <c:pt idx="682">
                    <c:v>14</c:v>
                  </c:pt>
                  <c:pt idx="683">
                    <c:v>15</c:v>
                  </c:pt>
                  <c:pt idx="684">
                    <c:v>16</c:v>
                  </c:pt>
                  <c:pt idx="685">
                    <c:v>17</c:v>
                  </c:pt>
                  <c:pt idx="686">
                    <c:v>18</c:v>
                  </c:pt>
                  <c:pt idx="687">
                    <c:v>19</c:v>
                  </c:pt>
                  <c:pt idx="688">
                    <c:v>20</c:v>
                  </c:pt>
                  <c:pt idx="689">
                    <c:v>21</c:v>
                  </c:pt>
                  <c:pt idx="690">
                    <c:v>22</c:v>
                  </c:pt>
                  <c:pt idx="691">
                    <c:v>23</c:v>
                  </c:pt>
                  <c:pt idx="692">
                    <c:v>24</c:v>
                  </c:pt>
                  <c:pt idx="693">
                    <c:v>25</c:v>
                  </c:pt>
                  <c:pt idx="694">
                    <c:v>26</c:v>
                  </c:pt>
                  <c:pt idx="695">
                    <c:v>27</c:v>
                  </c:pt>
                  <c:pt idx="696">
                    <c:v>28</c:v>
                  </c:pt>
                  <c:pt idx="697">
                    <c:v>29</c:v>
                  </c:pt>
                  <c:pt idx="698">
                    <c:v>30</c:v>
                  </c:pt>
                  <c:pt idx="699">
                    <c:v>1</c:v>
                  </c:pt>
                  <c:pt idx="700">
                    <c:v>2</c:v>
                  </c:pt>
                  <c:pt idx="701">
                    <c:v>3</c:v>
                  </c:pt>
                  <c:pt idx="702">
                    <c:v>4</c:v>
                  </c:pt>
                  <c:pt idx="703">
                    <c:v>5</c:v>
                  </c:pt>
                  <c:pt idx="704">
                    <c:v>6</c:v>
                  </c:pt>
                  <c:pt idx="705">
                    <c:v>7</c:v>
                  </c:pt>
                  <c:pt idx="706">
                    <c:v>8</c:v>
                  </c:pt>
                  <c:pt idx="707">
                    <c:v>9</c:v>
                  </c:pt>
                  <c:pt idx="708">
                    <c:v>10</c:v>
                  </c:pt>
                  <c:pt idx="709">
                    <c:v>11</c:v>
                  </c:pt>
                  <c:pt idx="710">
                    <c:v>12</c:v>
                  </c:pt>
                  <c:pt idx="711">
                    <c:v>13</c:v>
                  </c:pt>
                  <c:pt idx="712">
                    <c:v>14</c:v>
                  </c:pt>
                  <c:pt idx="713">
                    <c:v>15</c:v>
                  </c:pt>
                  <c:pt idx="714">
                    <c:v>16</c:v>
                  </c:pt>
                  <c:pt idx="715">
                    <c:v>17</c:v>
                  </c:pt>
                  <c:pt idx="716">
                    <c:v>18</c:v>
                  </c:pt>
                  <c:pt idx="717">
                    <c:v>19</c:v>
                  </c:pt>
                  <c:pt idx="718">
                    <c:v>20</c:v>
                  </c:pt>
                  <c:pt idx="719">
                    <c:v>21</c:v>
                  </c:pt>
                  <c:pt idx="720">
                    <c:v>22</c:v>
                  </c:pt>
                  <c:pt idx="721">
                    <c:v>23</c:v>
                  </c:pt>
                  <c:pt idx="722">
                    <c:v>24</c:v>
                  </c:pt>
                  <c:pt idx="723">
                    <c:v>25</c:v>
                  </c:pt>
                  <c:pt idx="724">
                    <c:v>26</c:v>
                  </c:pt>
                  <c:pt idx="725">
                    <c:v>27</c:v>
                  </c:pt>
                  <c:pt idx="726">
                    <c:v>28</c:v>
                  </c:pt>
                  <c:pt idx="727">
                    <c:v>29</c:v>
                  </c:pt>
                  <c:pt idx="728">
                    <c:v>30</c:v>
                  </c:pt>
                  <c:pt idx="729">
                    <c:v>31</c:v>
                  </c:pt>
                  <c:pt idx="730">
                    <c:v>1</c:v>
                  </c:pt>
                  <c:pt idx="731">
                    <c:v>2</c:v>
                  </c:pt>
                  <c:pt idx="732">
                    <c:v>3</c:v>
                  </c:pt>
                  <c:pt idx="733">
                    <c:v>4</c:v>
                  </c:pt>
                  <c:pt idx="734">
                    <c:v>5</c:v>
                  </c:pt>
                  <c:pt idx="735">
                    <c:v>6</c:v>
                  </c:pt>
                  <c:pt idx="736">
                    <c:v>7</c:v>
                  </c:pt>
                  <c:pt idx="737">
                    <c:v>8</c:v>
                  </c:pt>
                  <c:pt idx="738">
                    <c:v>9</c:v>
                  </c:pt>
                  <c:pt idx="739">
                    <c:v>10</c:v>
                  </c:pt>
                  <c:pt idx="740">
                    <c:v>11</c:v>
                  </c:pt>
                  <c:pt idx="741">
                    <c:v>12</c:v>
                  </c:pt>
                  <c:pt idx="742">
                    <c:v>13</c:v>
                  </c:pt>
                  <c:pt idx="743">
                    <c:v>14</c:v>
                  </c:pt>
                  <c:pt idx="744">
                    <c:v>15</c:v>
                  </c:pt>
                  <c:pt idx="745">
                    <c:v>16</c:v>
                  </c:pt>
                  <c:pt idx="746">
                    <c:v>17</c:v>
                  </c:pt>
                  <c:pt idx="747">
                    <c:v>18</c:v>
                  </c:pt>
                  <c:pt idx="748">
                    <c:v>19</c:v>
                  </c:pt>
                  <c:pt idx="749">
                    <c:v>20</c:v>
                  </c:pt>
                  <c:pt idx="750">
                    <c:v>21</c:v>
                  </c:pt>
                  <c:pt idx="751">
                    <c:v>22</c:v>
                  </c:pt>
                  <c:pt idx="752">
                    <c:v>23</c:v>
                  </c:pt>
                  <c:pt idx="753">
                    <c:v>24</c:v>
                  </c:pt>
                  <c:pt idx="754">
                    <c:v>25</c:v>
                  </c:pt>
                  <c:pt idx="755">
                    <c:v>26</c:v>
                  </c:pt>
                  <c:pt idx="756">
                    <c:v>27</c:v>
                  </c:pt>
                  <c:pt idx="757">
                    <c:v>28</c:v>
                  </c:pt>
                  <c:pt idx="758">
                    <c:v>29</c:v>
                  </c:pt>
                  <c:pt idx="759">
                    <c:v>30</c:v>
                  </c:pt>
                  <c:pt idx="760">
                    <c:v>31</c:v>
                  </c:pt>
                  <c:pt idx="761">
                    <c:v>1</c:v>
                  </c:pt>
                  <c:pt idx="762">
                    <c:v>2</c:v>
                  </c:pt>
                  <c:pt idx="763">
                    <c:v>3</c:v>
                  </c:pt>
                  <c:pt idx="764">
                    <c:v>4</c:v>
                  </c:pt>
                  <c:pt idx="765">
                    <c:v>5</c:v>
                  </c:pt>
                  <c:pt idx="766">
                    <c:v>6</c:v>
                  </c:pt>
                  <c:pt idx="767">
                    <c:v>7</c:v>
                  </c:pt>
                  <c:pt idx="768">
                    <c:v>8</c:v>
                  </c:pt>
                  <c:pt idx="769">
                    <c:v>9</c:v>
                  </c:pt>
                  <c:pt idx="770">
                    <c:v>10</c:v>
                  </c:pt>
                  <c:pt idx="771">
                    <c:v>11</c:v>
                  </c:pt>
                  <c:pt idx="772">
                    <c:v>12</c:v>
                  </c:pt>
                  <c:pt idx="773">
                    <c:v>13</c:v>
                  </c:pt>
                  <c:pt idx="774">
                    <c:v>14</c:v>
                  </c:pt>
                  <c:pt idx="775">
                    <c:v>15</c:v>
                  </c:pt>
                  <c:pt idx="776">
                    <c:v>16</c:v>
                  </c:pt>
                  <c:pt idx="777">
                    <c:v>17</c:v>
                  </c:pt>
                  <c:pt idx="778">
                    <c:v>18</c:v>
                  </c:pt>
                  <c:pt idx="779">
                    <c:v>19</c:v>
                  </c:pt>
                  <c:pt idx="780">
                    <c:v>20</c:v>
                  </c:pt>
                  <c:pt idx="781">
                    <c:v>21</c:v>
                  </c:pt>
                  <c:pt idx="782">
                    <c:v>22</c:v>
                  </c:pt>
                  <c:pt idx="783">
                    <c:v>23</c:v>
                  </c:pt>
                  <c:pt idx="784">
                    <c:v>24</c:v>
                  </c:pt>
                  <c:pt idx="785">
                    <c:v>25</c:v>
                  </c:pt>
                  <c:pt idx="786">
                    <c:v>26</c:v>
                  </c:pt>
                  <c:pt idx="787">
                    <c:v>27</c:v>
                  </c:pt>
                  <c:pt idx="788">
                    <c:v>28</c:v>
                  </c:pt>
                  <c:pt idx="789">
                    <c:v>1</c:v>
                  </c:pt>
                  <c:pt idx="790">
                    <c:v>2</c:v>
                  </c:pt>
                  <c:pt idx="791">
                    <c:v>3</c:v>
                  </c:pt>
                  <c:pt idx="792">
                    <c:v>4</c:v>
                  </c:pt>
                  <c:pt idx="793">
                    <c:v>5</c:v>
                  </c:pt>
                  <c:pt idx="794">
                    <c:v>6</c:v>
                  </c:pt>
                  <c:pt idx="795">
                    <c:v>7</c:v>
                  </c:pt>
                  <c:pt idx="796">
                    <c:v>8</c:v>
                  </c:pt>
                  <c:pt idx="797">
                    <c:v>9</c:v>
                  </c:pt>
                  <c:pt idx="798">
                    <c:v>10</c:v>
                  </c:pt>
                  <c:pt idx="799">
                    <c:v>11</c:v>
                  </c:pt>
                  <c:pt idx="800">
                    <c:v>12</c:v>
                  </c:pt>
                  <c:pt idx="801">
                    <c:v>13</c:v>
                  </c:pt>
                  <c:pt idx="802">
                    <c:v>14</c:v>
                  </c:pt>
                  <c:pt idx="803">
                    <c:v>15</c:v>
                  </c:pt>
                  <c:pt idx="804">
                    <c:v>16</c:v>
                  </c:pt>
                  <c:pt idx="805">
                    <c:v>17</c:v>
                  </c:pt>
                  <c:pt idx="806">
                    <c:v>18</c:v>
                  </c:pt>
                  <c:pt idx="807">
                    <c:v>19</c:v>
                  </c:pt>
                  <c:pt idx="808">
                    <c:v>20</c:v>
                  </c:pt>
                  <c:pt idx="809">
                    <c:v>21</c:v>
                  </c:pt>
                  <c:pt idx="810">
                    <c:v>22</c:v>
                  </c:pt>
                  <c:pt idx="811">
                    <c:v>23</c:v>
                  </c:pt>
                  <c:pt idx="812">
                    <c:v>24</c:v>
                  </c:pt>
                  <c:pt idx="813">
                    <c:v>25</c:v>
                  </c:pt>
                  <c:pt idx="814">
                    <c:v>26</c:v>
                  </c:pt>
                  <c:pt idx="815">
                    <c:v>27</c:v>
                  </c:pt>
                  <c:pt idx="816">
                    <c:v>28</c:v>
                  </c:pt>
                  <c:pt idx="817">
                    <c:v>29</c:v>
                  </c:pt>
                  <c:pt idx="818">
                    <c:v>30</c:v>
                  </c:pt>
                  <c:pt idx="819">
                    <c:v>31</c:v>
                  </c:pt>
                  <c:pt idx="820">
                    <c:v>1</c:v>
                  </c:pt>
                  <c:pt idx="821">
                    <c:v>2</c:v>
                  </c:pt>
                  <c:pt idx="822">
                    <c:v>3</c:v>
                  </c:pt>
                  <c:pt idx="823">
                    <c:v>4</c:v>
                  </c:pt>
                  <c:pt idx="824">
                    <c:v>5</c:v>
                  </c:pt>
                  <c:pt idx="825">
                    <c:v>6</c:v>
                  </c:pt>
                  <c:pt idx="826">
                    <c:v>7</c:v>
                  </c:pt>
                  <c:pt idx="827">
                    <c:v>8</c:v>
                  </c:pt>
                  <c:pt idx="828">
                    <c:v>9</c:v>
                  </c:pt>
                  <c:pt idx="829">
                    <c:v>10</c:v>
                  </c:pt>
                  <c:pt idx="830">
                    <c:v>11</c:v>
                  </c:pt>
                  <c:pt idx="831">
                    <c:v>12</c:v>
                  </c:pt>
                  <c:pt idx="832">
                    <c:v>13</c:v>
                  </c:pt>
                  <c:pt idx="833">
                    <c:v>14</c:v>
                  </c:pt>
                  <c:pt idx="834">
                    <c:v>15</c:v>
                  </c:pt>
                  <c:pt idx="835">
                    <c:v>16</c:v>
                  </c:pt>
                  <c:pt idx="836">
                    <c:v>17</c:v>
                  </c:pt>
                  <c:pt idx="837">
                    <c:v>18</c:v>
                  </c:pt>
                  <c:pt idx="838">
                    <c:v>19</c:v>
                  </c:pt>
                  <c:pt idx="839">
                    <c:v>20</c:v>
                  </c:pt>
                  <c:pt idx="840">
                    <c:v>21</c:v>
                  </c:pt>
                  <c:pt idx="841">
                    <c:v>22</c:v>
                  </c:pt>
                  <c:pt idx="842">
                    <c:v>23</c:v>
                  </c:pt>
                  <c:pt idx="843">
                    <c:v>24</c:v>
                  </c:pt>
                  <c:pt idx="844">
                    <c:v>25</c:v>
                  </c:pt>
                  <c:pt idx="845">
                    <c:v>26</c:v>
                  </c:pt>
                  <c:pt idx="846">
                    <c:v>27</c:v>
                  </c:pt>
                  <c:pt idx="847">
                    <c:v>28</c:v>
                  </c:pt>
                  <c:pt idx="848">
                    <c:v>29</c:v>
                  </c:pt>
                  <c:pt idx="849">
                    <c:v>30</c:v>
                  </c:pt>
                  <c:pt idx="850">
                    <c:v>1</c:v>
                  </c:pt>
                  <c:pt idx="851">
                    <c:v>2</c:v>
                  </c:pt>
                  <c:pt idx="852">
                    <c:v>3</c:v>
                  </c:pt>
                  <c:pt idx="853">
                    <c:v>4</c:v>
                  </c:pt>
                  <c:pt idx="854">
                    <c:v>5</c:v>
                  </c:pt>
                  <c:pt idx="855">
                    <c:v>6</c:v>
                  </c:pt>
                  <c:pt idx="856">
                    <c:v>7</c:v>
                  </c:pt>
                  <c:pt idx="857">
                    <c:v>8</c:v>
                  </c:pt>
                  <c:pt idx="858">
                    <c:v>9</c:v>
                  </c:pt>
                  <c:pt idx="859">
                    <c:v>10</c:v>
                  </c:pt>
                  <c:pt idx="860">
                    <c:v>11</c:v>
                  </c:pt>
                  <c:pt idx="861">
                    <c:v>12</c:v>
                  </c:pt>
                  <c:pt idx="862">
                    <c:v>13</c:v>
                  </c:pt>
                  <c:pt idx="863">
                    <c:v>14</c:v>
                  </c:pt>
                  <c:pt idx="864">
                    <c:v>15</c:v>
                  </c:pt>
                  <c:pt idx="865">
                    <c:v>16</c:v>
                  </c:pt>
                  <c:pt idx="866">
                    <c:v>17</c:v>
                  </c:pt>
                  <c:pt idx="867">
                    <c:v>18</c:v>
                  </c:pt>
                  <c:pt idx="868">
                    <c:v>19</c:v>
                  </c:pt>
                  <c:pt idx="869">
                    <c:v>20</c:v>
                  </c:pt>
                  <c:pt idx="870">
                    <c:v>21</c:v>
                  </c:pt>
                  <c:pt idx="871">
                    <c:v>22</c:v>
                  </c:pt>
                  <c:pt idx="872">
                    <c:v>23</c:v>
                  </c:pt>
                  <c:pt idx="873">
                    <c:v>24</c:v>
                  </c:pt>
                  <c:pt idx="874">
                    <c:v>25</c:v>
                  </c:pt>
                  <c:pt idx="875">
                    <c:v>26</c:v>
                  </c:pt>
                  <c:pt idx="876">
                    <c:v>27</c:v>
                  </c:pt>
                  <c:pt idx="877">
                    <c:v>28</c:v>
                  </c:pt>
                  <c:pt idx="878">
                    <c:v>29</c:v>
                  </c:pt>
                  <c:pt idx="879">
                    <c:v>30</c:v>
                  </c:pt>
                  <c:pt idx="880">
                    <c:v>31</c:v>
                  </c:pt>
                  <c:pt idx="881">
                    <c:v>1</c:v>
                  </c:pt>
                  <c:pt idx="882">
                    <c:v>2</c:v>
                  </c:pt>
                  <c:pt idx="883">
                    <c:v>3</c:v>
                  </c:pt>
                  <c:pt idx="884">
                    <c:v>4</c:v>
                  </c:pt>
                  <c:pt idx="885">
                    <c:v>5</c:v>
                  </c:pt>
                  <c:pt idx="886">
                    <c:v>6</c:v>
                  </c:pt>
                  <c:pt idx="887">
                    <c:v>7</c:v>
                  </c:pt>
                  <c:pt idx="888">
                    <c:v>8</c:v>
                  </c:pt>
                  <c:pt idx="889">
                    <c:v>9</c:v>
                  </c:pt>
                  <c:pt idx="890">
                    <c:v>10</c:v>
                  </c:pt>
                  <c:pt idx="891">
                    <c:v>11</c:v>
                  </c:pt>
                  <c:pt idx="892">
                    <c:v>12</c:v>
                  </c:pt>
                  <c:pt idx="893">
                    <c:v>13</c:v>
                  </c:pt>
                  <c:pt idx="894">
                    <c:v>14</c:v>
                  </c:pt>
                  <c:pt idx="895">
                    <c:v>15</c:v>
                  </c:pt>
                  <c:pt idx="896">
                    <c:v>16</c:v>
                  </c:pt>
                  <c:pt idx="897">
                    <c:v>17</c:v>
                  </c:pt>
                  <c:pt idx="898">
                    <c:v>18</c:v>
                  </c:pt>
                  <c:pt idx="899">
                    <c:v>19</c:v>
                  </c:pt>
                  <c:pt idx="900">
                    <c:v>20</c:v>
                  </c:pt>
                  <c:pt idx="901">
                    <c:v>21</c:v>
                  </c:pt>
                  <c:pt idx="902">
                    <c:v>22</c:v>
                  </c:pt>
                  <c:pt idx="903">
                    <c:v>23</c:v>
                  </c:pt>
                  <c:pt idx="904">
                    <c:v>24</c:v>
                  </c:pt>
                  <c:pt idx="905">
                    <c:v>25</c:v>
                  </c:pt>
                  <c:pt idx="906">
                    <c:v>26</c:v>
                  </c:pt>
                  <c:pt idx="907">
                    <c:v>27</c:v>
                  </c:pt>
                  <c:pt idx="908">
                    <c:v>28</c:v>
                  </c:pt>
                  <c:pt idx="909">
                    <c:v>29</c:v>
                  </c:pt>
                  <c:pt idx="910">
                    <c:v>30</c:v>
                  </c:pt>
                  <c:pt idx="911">
                    <c:v>1</c:v>
                  </c:pt>
                  <c:pt idx="912">
                    <c:v>2</c:v>
                  </c:pt>
                  <c:pt idx="913">
                    <c:v>3</c:v>
                  </c:pt>
                  <c:pt idx="914">
                    <c:v>4</c:v>
                  </c:pt>
                  <c:pt idx="915">
                    <c:v>5</c:v>
                  </c:pt>
                  <c:pt idx="916">
                    <c:v>6</c:v>
                  </c:pt>
                  <c:pt idx="917">
                    <c:v>7</c:v>
                  </c:pt>
                  <c:pt idx="918">
                    <c:v>8</c:v>
                  </c:pt>
                  <c:pt idx="919">
                    <c:v>9</c:v>
                  </c:pt>
                  <c:pt idx="920">
                    <c:v>10</c:v>
                  </c:pt>
                  <c:pt idx="921">
                    <c:v>11</c:v>
                  </c:pt>
                  <c:pt idx="922">
                    <c:v>12</c:v>
                  </c:pt>
                  <c:pt idx="923">
                    <c:v>13</c:v>
                  </c:pt>
                  <c:pt idx="924">
                    <c:v>14</c:v>
                  </c:pt>
                  <c:pt idx="925">
                    <c:v>15</c:v>
                  </c:pt>
                  <c:pt idx="926">
                    <c:v>16</c:v>
                  </c:pt>
                  <c:pt idx="927">
                    <c:v>17</c:v>
                  </c:pt>
                  <c:pt idx="928">
                    <c:v>18</c:v>
                  </c:pt>
                  <c:pt idx="929">
                    <c:v>19</c:v>
                  </c:pt>
                  <c:pt idx="930">
                    <c:v>20</c:v>
                  </c:pt>
                  <c:pt idx="931">
                    <c:v>21</c:v>
                  </c:pt>
                  <c:pt idx="932">
                    <c:v>22</c:v>
                  </c:pt>
                  <c:pt idx="933">
                    <c:v>23</c:v>
                  </c:pt>
                  <c:pt idx="934">
                    <c:v>24</c:v>
                  </c:pt>
                  <c:pt idx="935">
                    <c:v>25</c:v>
                  </c:pt>
                  <c:pt idx="936">
                    <c:v>26</c:v>
                  </c:pt>
                  <c:pt idx="937">
                    <c:v>27</c:v>
                  </c:pt>
                  <c:pt idx="938">
                    <c:v>28</c:v>
                  </c:pt>
                  <c:pt idx="939">
                    <c:v>29</c:v>
                  </c:pt>
                  <c:pt idx="940">
                    <c:v>30</c:v>
                  </c:pt>
                  <c:pt idx="941">
                    <c:v>31</c:v>
                  </c:pt>
                  <c:pt idx="942">
                    <c:v>1</c:v>
                  </c:pt>
                  <c:pt idx="943">
                    <c:v>2</c:v>
                  </c:pt>
                  <c:pt idx="944">
                    <c:v>3</c:v>
                  </c:pt>
                  <c:pt idx="945">
                    <c:v>4</c:v>
                  </c:pt>
                  <c:pt idx="946">
                    <c:v>5</c:v>
                  </c:pt>
                  <c:pt idx="947">
                    <c:v>6</c:v>
                  </c:pt>
                  <c:pt idx="948">
                    <c:v>7</c:v>
                  </c:pt>
                  <c:pt idx="949">
                    <c:v>8</c:v>
                  </c:pt>
                  <c:pt idx="950">
                    <c:v>9</c:v>
                  </c:pt>
                  <c:pt idx="951">
                    <c:v>10</c:v>
                  </c:pt>
                  <c:pt idx="952">
                    <c:v>11</c:v>
                  </c:pt>
                  <c:pt idx="953">
                    <c:v>12</c:v>
                  </c:pt>
                  <c:pt idx="954">
                    <c:v>13</c:v>
                  </c:pt>
                  <c:pt idx="955">
                    <c:v>14</c:v>
                  </c:pt>
                  <c:pt idx="956">
                    <c:v>15</c:v>
                  </c:pt>
                  <c:pt idx="957">
                    <c:v>16</c:v>
                  </c:pt>
                  <c:pt idx="958">
                    <c:v>17</c:v>
                  </c:pt>
                  <c:pt idx="959">
                    <c:v>18</c:v>
                  </c:pt>
                  <c:pt idx="960">
                    <c:v>19</c:v>
                  </c:pt>
                  <c:pt idx="961">
                    <c:v>20</c:v>
                  </c:pt>
                  <c:pt idx="962">
                    <c:v>21</c:v>
                  </c:pt>
                  <c:pt idx="963">
                    <c:v>22</c:v>
                  </c:pt>
                  <c:pt idx="964">
                    <c:v>23</c:v>
                  </c:pt>
                  <c:pt idx="965">
                    <c:v>24</c:v>
                  </c:pt>
                  <c:pt idx="966">
                    <c:v>25</c:v>
                  </c:pt>
                  <c:pt idx="967">
                    <c:v>26</c:v>
                  </c:pt>
                  <c:pt idx="968">
                    <c:v>27</c:v>
                  </c:pt>
                  <c:pt idx="969">
                    <c:v>28</c:v>
                  </c:pt>
                  <c:pt idx="970">
                    <c:v>29</c:v>
                  </c:pt>
                  <c:pt idx="971">
                    <c:v>30</c:v>
                  </c:pt>
                  <c:pt idx="972">
                    <c:v>31</c:v>
                  </c:pt>
                  <c:pt idx="973">
                    <c:v>1</c:v>
                  </c:pt>
                  <c:pt idx="974">
                    <c:v>2</c:v>
                  </c:pt>
                  <c:pt idx="975">
                    <c:v>3</c:v>
                  </c:pt>
                  <c:pt idx="976">
                    <c:v>4</c:v>
                  </c:pt>
                  <c:pt idx="977">
                    <c:v>5</c:v>
                  </c:pt>
                  <c:pt idx="978">
                    <c:v>6</c:v>
                  </c:pt>
                  <c:pt idx="979">
                    <c:v>7</c:v>
                  </c:pt>
                </c:lvl>
                <c:lvl>
                  <c:pt idx="0">
                    <c:v>1</c:v>
                  </c:pt>
                  <c:pt idx="31">
                    <c:v>2</c:v>
                  </c:pt>
                  <c:pt idx="59">
                    <c:v>3</c:v>
                  </c:pt>
                  <c:pt idx="90">
                    <c:v>4</c:v>
                  </c:pt>
                  <c:pt idx="120">
                    <c:v>5</c:v>
                  </c:pt>
                  <c:pt idx="151">
                    <c:v>6</c:v>
                  </c:pt>
                  <c:pt idx="181">
                    <c:v>7</c:v>
                  </c:pt>
                  <c:pt idx="212">
                    <c:v>8</c:v>
                  </c:pt>
                  <c:pt idx="243">
                    <c:v>9</c:v>
                  </c:pt>
                  <c:pt idx="273">
                    <c:v>10</c:v>
                  </c:pt>
                  <c:pt idx="304">
                    <c:v>11</c:v>
                  </c:pt>
                  <c:pt idx="334">
                    <c:v>12</c:v>
                  </c:pt>
                  <c:pt idx="365">
                    <c:v>1</c:v>
                  </c:pt>
                  <c:pt idx="396">
                    <c:v>2</c:v>
                  </c:pt>
                  <c:pt idx="424">
                    <c:v>3</c:v>
                  </c:pt>
                  <c:pt idx="455">
                    <c:v>4</c:v>
                  </c:pt>
                  <c:pt idx="485">
                    <c:v>5</c:v>
                  </c:pt>
                  <c:pt idx="516">
                    <c:v>6</c:v>
                  </c:pt>
                  <c:pt idx="546">
                    <c:v>7</c:v>
                  </c:pt>
                  <c:pt idx="577">
                    <c:v>8</c:v>
                  </c:pt>
                  <c:pt idx="608">
                    <c:v>9</c:v>
                  </c:pt>
                  <c:pt idx="638">
                    <c:v>10</c:v>
                  </c:pt>
                  <c:pt idx="669">
                    <c:v>11</c:v>
                  </c:pt>
                  <c:pt idx="699">
                    <c:v>12</c:v>
                  </c:pt>
                  <c:pt idx="730">
                    <c:v>1</c:v>
                  </c:pt>
                  <c:pt idx="761">
                    <c:v>2</c:v>
                  </c:pt>
                  <c:pt idx="789">
                    <c:v>3</c:v>
                  </c:pt>
                  <c:pt idx="820">
                    <c:v>4</c:v>
                  </c:pt>
                  <c:pt idx="850">
                    <c:v>5</c:v>
                  </c:pt>
                  <c:pt idx="881">
                    <c:v>6</c:v>
                  </c:pt>
                  <c:pt idx="911">
                    <c:v>7</c:v>
                  </c:pt>
                  <c:pt idx="942">
                    <c:v>8</c:v>
                  </c:pt>
                  <c:pt idx="973">
                    <c:v>9</c:v>
                  </c:pt>
                </c:lvl>
                <c:lvl>
                  <c:pt idx="0">
                    <c:v>2002</c:v>
                  </c:pt>
                  <c:pt idx="365">
                    <c:v>2018</c:v>
                  </c:pt>
                  <c:pt idx="730">
                    <c:v>2023</c:v>
                  </c:pt>
                </c:lvl>
              </c:multiLvlStrCache>
            </c:multiLvlStrRef>
          </c:cat>
          <c:val>
            <c:numRef>
              <c:f>Tabelle1!$B$2:$B$1018</c:f>
              <c:numCache>
                <c:formatCode>General</c:formatCode>
                <c:ptCount val="980"/>
                <c:pt idx="0">
                  <c:v>14.931666666666667</c:v>
                </c:pt>
                <c:pt idx="1">
                  <c:v>28.747916666666669</c:v>
                </c:pt>
                <c:pt idx="2">
                  <c:v>31.267083333333332</c:v>
                </c:pt>
                <c:pt idx="3">
                  <c:v>34.210833333333341</c:v>
                </c:pt>
                <c:pt idx="4">
                  <c:v>27.526666666666671</c:v>
                </c:pt>
                <c:pt idx="5">
                  <c:v>20.64</c:v>
                </c:pt>
                <c:pt idx="6">
                  <c:v>47.45333333333334</c:v>
                </c:pt>
                <c:pt idx="7">
                  <c:v>61.00083333333334</c:v>
                </c:pt>
                <c:pt idx="8">
                  <c:v>51.98458333333334</c:v>
                </c:pt>
                <c:pt idx="9">
                  <c:v>50.063749999999999</c:v>
                </c:pt>
                <c:pt idx="10">
                  <c:v>42.691249999999997</c:v>
                </c:pt>
                <c:pt idx="11">
                  <c:v>32.795000000000009</c:v>
                </c:pt>
                <c:pt idx="12">
                  <c:v>26.414999999999996</c:v>
                </c:pt>
                <c:pt idx="13">
                  <c:v>37.89875</c:v>
                </c:pt>
                <c:pt idx="14">
                  <c:v>34.052083333333343</c:v>
                </c:pt>
                <c:pt idx="15">
                  <c:v>33.922083333333326</c:v>
                </c:pt>
                <c:pt idx="16">
                  <c:v>34.434166666666663</c:v>
                </c:pt>
                <c:pt idx="17">
                  <c:v>31.665416666666655</c:v>
                </c:pt>
                <c:pt idx="18">
                  <c:v>16.533333333333339</c:v>
                </c:pt>
                <c:pt idx="19">
                  <c:v>16.111250000000002</c:v>
                </c:pt>
                <c:pt idx="20">
                  <c:v>27.633749999999996</c:v>
                </c:pt>
                <c:pt idx="21">
                  <c:v>28.249166666666671</c:v>
                </c:pt>
                <c:pt idx="22">
                  <c:v>24.074999999999999</c:v>
                </c:pt>
                <c:pt idx="23">
                  <c:v>25.40666666666667</c:v>
                </c:pt>
                <c:pt idx="24">
                  <c:v>24.706249999999994</c:v>
                </c:pt>
                <c:pt idx="25">
                  <c:v>18.240416666666672</c:v>
                </c:pt>
                <c:pt idx="26">
                  <c:v>15.807083333333333</c:v>
                </c:pt>
                <c:pt idx="27">
                  <c:v>24.517499999999998</c:v>
                </c:pt>
                <c:pt idx="28">
                  <c:v>17.897083333333335</c:v>
                </c:pt>
                <c:pt idx="29">
                  <c:v>23.389166666666668</c:v>
                </c:pt>
                <c:pt idx="30">
                  <c:v>20.987500000000001</c:v>
                </c:pt>
                <c:pt idx="31">
                  <c:v>20.932500000000001</c:v>
                </c:pt>
                <c:pt idx="32">
                  <c:v>15.22291666666667</c:v>
                </c:pt>
                <c:pt idx="33">
                  <c:v>11.46</c:v>
                </c:pt>
                <c:pt idx="34">
                  <c:v>21.125</c:v>
                </c:pt>
                <c:pt idx="35">
                  <c:v>21.135000000000002</c:v>
                </c:pt>
                <c:pt idx="36">
                  <c:v>20.945416666666663</c:v>
                </c:pt>
                <c:pt idx="37">
                  <c:v>20.572916666666668</c:v>
                </c:pt>
                <c:pt idx="38">
                  <c:v>18.91791666666667</c:v>
                </c:pt>
                <c:pt idx="39">
                  <c:v>17.197083333333332</c:v>
                </c:pt>
                <c:pt idx="40">
                  <c:v>13.755416666666669</c:v>
                </c:pt>
                <c:pt idx="41">
                  <c:v>18.860416666666669</c:v>
                </c:pt>
                <c:pt idx="42">
                  <c:v>16.522500000000001</c:v>
                </c:pt>
                <c:pt idx="43">
                  <c:v>22.202083333333338</c:v>
                </c:pt>
                <c:pt idx="44">
                  <c:v>24.033749999999994</c:v>
                </c:pt>
                <c:pt idx="45">
                  <c:v>18.622916666666665</c:v>
                </c:pt>
                <c:pt idx="46">
                  <c:v>22.844583333333336</c:v>
                </c:pt>
                <c:pt idx="47">
                  <c:v>18.302499999999998</c:v>
                </c:pt>
                <c:pt idx="48">
                  <c:v>22.983750000000004</c:v>
                </c:pt>
                <c:pt idx="49">
                  <c:v>22.068749999999998</c:v>
                </c:pt>
                <c:pt idx="50">
                  <c:v>22.906666666666666</c:v>
                </c:pt>
                <c:pt idx="51">
                  <c:v>25.696666666666669</c:v>
                </c:pt>
                <c:pt idx="52">
                  <c:v>21.760833333333334</c:v>
                </c:pt>
                <c:pt idx="53">
                  <c:v>18.892916666666668</c:v>
                </c:pt>
                <c:pt idx="54">
                  <c:v>18.900000000000002</c:v>
                </c:pt>
                <c:pt idx="55">
                  <c:v>24.043333333333333</c:v>
                </c:pt>
                <c:pt idx="56">
                  <c:v>22.588333333333335</c:v>
                </c:pt>
                <c:pt idx="57">
                  <c:v>19.979583333333334</c:v>
                </c:pt>
                <c:pt idx="58">
                  <c:v>22.969166666666666</c:v>
                </c:pt>
                <c:pt idx="59">
                  <c:v>27.827499999999997</c:v>
                </c:pt>
                <c:pt idx="60">
                  <c:v>18.561249999999998</c:v>
                </c:pt>
                <c:pt idx="61">
                  <c:v>15.069583333333334</c:v>
                </c:pt>
                <c:pt idx="62">
                  <c:v>23.701666666666668</c:v>
                </c:pt>
                <c:pt idx="63">
                  <c:v>24.740416666666661</c:v>
                </c:pt>
                <c:pt idx="64">
                  <c:v>22.791666666666668</c:v>
                </c:pt>
                <c:pt idx="65">
                  <c:v>21.466250000000002</c:v>
                </c:pt>
                <c:pt idx="66">
                  <c:v>20.700416666666669</c:v>
                </c:pt>
                <c:pt idx="67">
                  <c:v>21.225000000000001</c:v>
                </c:pt>
                <c:pt idx="68">
                  <c:v>17.162916666666668</c:v>
                </c:pt>
                <c:pt idx="69">
                  <c:v>22.155416666666667</c:v>
                </c:pt>
                <c:pt idx="70">
                  <c:v>22.153333333333332</c:v>
                </c:pt>
                <c:pt idx="71">
                  <c:v>19.956666666666667</c:v>
                </c:pt>
                <c:pt idx="72">
                  <c:v>21.68708333333333</c:v>
                </c:pt>
                <c:pt idx="73">
                  <c:v>18.278333333333332</c:v>
                </c:pt>
                <c:pt idx="74">
                  <c:v>17.527916666666666</c:v>
                </c:pt>
                <c:pt idx="75">
                  <c:v>14.215000000000003</c:v>
                </c:pt>
                <c:pt idx="76">
                  <c:v>20.766666666666669</c:v>
                </c:pt>
                <c:pt idx="77">
                  <c:v>19.180833333333336</c:v>
                </c:pt>
                <c:pt idx="78">
                  <c:v>19.900416666666668</c:v>
                </c:pt>
                <c:pt idx="79">
                  <c:v>18.59333333333333</c:v>
                </c:pt>
                <c:pt idx="80">
                  <c:v>19.149999999999999</c:v>
                </c:pt>
                <c:pt idx="81">
                  <c:v>14.872500000000002</c:v>
                </c:pt>
                <c:pt idx="82">
                  <c:v>11.363750000000001</c:v>
                </c:pt>
                <c:pt idx="83">
                  <c:v>21.147500000000001</c:v>
                </c:pt>
                <c:pt idx="84">
                  <c:v>24.415416666666669</c:v>
                </c:pt>
                <c:pt idx="85">
                  <c:v>23.97583333333333</c:v>
                </c:pt>
                <c:pt idx="86">
                  <c:v>22.282499999999999</c:v>
                </c:pt>
                <c:pt idx="87">
                  <c:v>16.266666666666669</c:v>
                </c:pt>
                <c:pt idx="88">
                  <c:v>14.890833333333333</c:v>
                </c:pt>
                <c:pt idx="89">
                  <c:v>8.6437499999999989</c:v>
                </c:pt>
                <c:pt idx="90">
                  <c:v>7.9441666666666668</c:v>
                </c:pt>
                <c:pt idx="91">
                  <c:v>20.135833333333331</c:v>
                </c:pt>
                <c:pt idx="92">
                  <c:v>18.950416666666669</c:v>
                </c:pt>
                <c:pt idx="93">
                  <c:v>20.587916666666665</c:v>
                </c:pt>
                <c:pt idx="94">
                  <c:v>19.160416666666666</c:v>
                </c:pt>
                <c:pt idx="95">
                  <c:v>19.399583333333336</c:v>
                </c:pt>
                <c:pt idx="96">
                  <c:v>15.307499999999996</c:v>
                </c:pt>
                <c:pt idx="97">
                  <c:v>27.987500000000008</c:v>
                </c:pt>
                <c:pt idx="98">
                  <c:v>25.018333333333334</c:v>
                </c:pt>
                <c:pt idx="99">
                  <c:v>25.708333333333329</c:v>
                </c:pt>
                <c:pt idx="100">
                  <c:v>29.03125</c:v>
                </c:pt>
                <c:pt idx="101">
                  <c:v>27.425416666666674</c:v>
                </c:pt>
                <c:pt idx="102">
                  <c:v>17.915416666666669</c:v>
                </c:pt>
                <c:pt idx="103">
                  <c:v>15.511666666666668</c:v>
                </c:pt>
                <c:pt idx="104">
                  <c:v>27.366249999999994</c:v>
                </c:pt>
                <c:pt idx="105">
                  <c:v>30.542916666666667</c:v>
                </c:pt>
                <c:pt idx="106">
                  <c:v>30.395833333333329</c:v>
                </c:pt>
                <c:pt idx="107">
                  <c:v>27.892916666666661</c:v>
                </c:pt>
                <c:pt idx="108">
                  <c:v>25.74958333333333</c:v>
                </c:pt>
                <c:pt idx="109">
                  <c:v>22.838333333333328</c:v>
                </c:pt>
                <c:pt idx="110">
                  <c:v>15.447500000000003</c:v>
                </c:pt>
                <c:pt idx="111">
                  <c:v>24.177083333333339</c:v>
                </c:pt>
                <c:pt idx="112">
                  <c:v>26.76166666666667</c:v>
                </c:pt>
                <c:pt idx="113">
                  <c:v>27.970833333333331</c:v>
                </c:pt>
                <c:pt idx="114">
                  <c:v>24.345416666666665</c:v>
                </c:pt>
                <c:pt idx="115">
                  <c:v>19.739583333333336</c:v>
                </c:pt>
                <c:pt idx="116">
                  <c:v>14.5625</c:v>
                </c:pt>
                <c:pt idx="117">
                  <c:v>11.516250000000001</c:v>
                </c:pt>
                <c:pt idx="118">
                  <c:v>21.358333333333334</c:v>
                </c:pt>
                <c:pt idx="119">
                  <c:v>20.210416666666671</c:v>
                </c:pt>
                <c:pt idx="120">
                  <c:v>11.830416666666666</c:v>
                </c:pt>
                <c:pt idx="121">
                  <c:v>24.356666666666669</c:v>
                </c:pt>
                <c:pt idx="122">
                  <c:v>22.843333333333334</c:v>
                </c:pt>
                <c:pt idx="123">
                  <c:v>17.855833333333333</c:v>
                </c:pt>
                <c:pt idx="124">
                  <c:v>12.544166666666667</c:v>
                </c:pt>
                <c:pt idx="125">
                  <c:v>20.996666666666673</c:v>
                </c:pt>
                <c:pt idx="126">
                  <c:v>21.736666666666668</c:v>
                </c:pt>
                <c:pt idx="127">
                  <c:v>19.531666666666666</c:v>
                </c:pt>
                <c:pt idx="128">
                  <c:v>11.837916666666667</c:v>
                </c:pt>
                <c:pt idx="129">
                  <c:v>17.240833333333331</c:v>
                </c:pt>
                <c:pt idx="130">
                  <c:v>14.834166666666668</c:v>
                </c:pt>
                <c:pt idx="131">
                  <c:v>12.614583333333334</c:v>
                </c:pt>
                <c:pt idx="132">
                  <c:v>22.895416666666666</c:v>
                </c:pt>
                <c:pt idx="133">
                  <c:v>20.424166666666665</c:v>
                </c:pt>
                <c:pt idx="134">
                  <c:v>19.166666666666668</c:v>
                </c:pt>
                <c:pt idx="135">
                  <c:v>21.452500000000004</c:v>
                </c:pt>
                <c:pt idx="136">
                  <c:v>18.032499999999999</c:v>
                </c:pt>
                <c:pt idx="137">
                  <c:v>14.575416666666669</c:v>
                </c:pt>
                <c:pt idx="138">
                  <c:v>8.3362500000000015</c:v>
                </c:pt>
                <c:pt idx="139">
                  <c:v>9.5537500000000009</c:v>
                </c:pt>
                <c:pt idx="140">
                  <c:v>19.836666666666666</c:v>
                </c:pt>
                <c:pt idx="141">
                  <c:v>18.857916666666664</c:v>
                </c:pt>
                <c:pt idx="142">
                  <c:v>22.67625</c:v>
                </c:pt>
                <c:pt idx="143">
                  <c:v>18.318333333333332</c:v>
                </c:pt>
                <c:pt idx="144">
                  <c:v>12.742916666666668</c:v>
                </c:pt>
                <c:pt idx="145">
                  <c:v>10.047083333333335</c:v>
                </c:pt>
                <c:pt idx="146">
                  <c:v>20.945416666666663</c:v>
                </c:pt>
                <c:pt idx="147">
                  <c:v>25.250416666666666</c:v>
                </c:pt>
                <c:pt idx="148">
                  <c:v>22.939166666666669</c:v>
                </c:pt>
                <c:pt idx="149">
                  <c:v>15.943333333333333</c:v>
                </c:pt>
                <c:pt idx="150">
                  <c:v>16.161249999999999</c:v>
                </c:pt>
                <c:pt idx="151">
                  <c:v>15.654166666666663</c:v>
                </c:pt>
                <c:pt idx="152">
                  <c:v>10.094999999999997</c:v>
                </c:pt>
                <c:pt idx="153">
                  <c:v>20.737500000000001</c:v>
                </c:pt>
                <c:pt idx="154">
                  <c:v>35.569166666666675</c:v>
                </c:pt>
                <c:pt idx="155">
                  <c:v>18.787083333333332</c:v>
                </c:pt>
                <c:pt idx="156">
                  <c:v>24.824999999999992</c:v>
                </c:pt>
                <c:pt idx="157">
                  <c:v>20.253333333333334</c:v>
                </c:pt>
                <c:pt idx="158">
                  <c:v>13.577916666666667</c:v>
                </c:pt>
                <c:pt idx="159">
                  <c:v>8.7433333333333323</c:v>
                </c:pt>
                <c:pt idx="160">
                  <c:v>24.71833333333333</c:v>
                </c:pt>
                <c:pt idx="161">
                  <c:v>26.867916666666662</c:v>
                </c:pt>
                <c:pt idx="162">
                  <c:v>26.549166666666668</c:v>
                </c:pt>
                <c:pt idx="163">
                  <c:v>24.661249999999992</c:v>
                </c:pt>
                <c:pt idx="164">
                  <c:v>25.577083333333334</c:v>
                </c:pt>
                <c:pt idx="165">
                  <c:v>17.543333333333333</c:v>
                </c:pt>
                <c:pt idx="166">
                  <c:v>13.039583333333333</c:v>
                </c:pt>
                <c:pt idx="167">
                  <c:v>32.566250000000004</c:v>
                </c:pt>
                <c:pt idx="168">
                  <c:v>26.508333333333336</c:v>
                </c:pt>
                <c:pt idx="169">
                  <c:v>51.186250000000001</c:v>
                </c:pt>
                <c:pt idx="170">
                  <c:v>44.70291666666666</c:v>
                </c:pt>
                <c:pt idx="171">
                  <c:v>29.22208333333333</c:v>
                </c:pt>
                <c:pt idx="172">
                  <c:v>17.010416666666668</c:v>
                </c:pt>
                <c:pt idx="173">
                  <c:v>13.627916666666669</c:v>
                </c:pt>
                <c:pt idx="174">
                  <c:v>28.94208333333334</c:v>
                </c:pt>
                <c:pt idx="175">
                  <c:v>30.405833333333337</c:v>
                </c:pt>
                <c:pt idx="176">
                  <c:v>25.677083333333332</c:v>
                </c:pt>
                <c:pt idx="177">
                  <c:v>23.490833333333331</c:v>
                </c:pt>
                <c:pt idx="178">
                  <c:v>19.018749999999997</c:v>
                </c:pt>
                <c:pt idx="179">
                  <c:v>11.774583333333332</c:v>
                </c:pt>
                <c:pt idx="180">
                  <c:v>12.657916666666665</c:v>
                </c:pt>
                <c:pt idx="181">
                  <c:v>52.085416666666674</c:v>
                </c:pt>
                <c:pt idx="182">
                  <c:v>27.713333333333328</c:v>
                </c:pt>
                <c:pt idx="183">
                  <c:v>54.094166666666673</c:v>
                </c:pt>
                <c:pt idx="184">
                  <c:v>30.642499999999998</c:v>
                </c:pt>
                <c:pt idx="185">
                  <c:v>30.079583333333332</c:v>
                </c:pt>
                <c:pt idx="186">
                  <c:v>18.324999999999999</c:v>
                </c:pt>
                <c:pt idx="187">
                  <c:v>11.816666666666668</c:v>
                </c:pt>
                <c:pt idx="188">
                  <c:v>23.974166666666665</c:v>
                </c:pt>
                <c:pt idx="189">
                  <c:v>48.005416666666655</c:v>
                </c:pt>
                <c:pt idx="190">
                  <c:v>23.940833333333334</c:v>
                </c:pt>
                <c:pt idx="191">
                  <c:v>20.323333333333334</c:v>
                </c:pt>
                <c:pt idx="192">
                  <c:v>22.240000000000006</c:v>
                </c:pt>
                <c:pt idx="193">
                  <c:v>17.455000000000002</c:v>
                </c:pt>
                <c:pt idx="194">
                  <c:v>12.355416666666668</c:v>
                </c:pt>
                <c:pt idx="195">
                  <c:v>20.535416666666674</c:v>
                </c:pt>
                <c:pt idx="196">
                  <c:v>24.509166666666669</c:v>
                </c:pt>
                <c:pt idx="197">
                  <c:v>22.092916666666667</c:v>
                </c:pt>
                <c:pt idx="198">
                  <c:v>16.855833333333333</c:v>
                </c:pt>
                <c:pt idx="199">
                  <c:v>17.824166666666667</c:v>
                </c:pt>
                <c:pt idx="200">
                  <c:v>13.489583333333334</c:v>
                </c:pt>
                <c:pt idx="201">
                  <c:v>9.7212499999999995</c:v>
                </c:pt>
                <c:pt idx="202">
                  <c:v>22.052499999999998</c:v>
                </c:pt>
                <c:pt idx="203">
                  <c:v>18.213750000000001</c:v>
                </c:pt>
                <c:pt idx="204">
                  <c:v>20.088750000000001</c:v>
                </c:pt>
                <c:pt idx="205">
                  <c:v>19.815416666666668</c:v>
                </c:pt>
                <c:pt idx="206">
                  <c:v>21.966250000000002</c:v>
                </c:pt>
                <c:pt idx="207">
                  <c:v>15.539999999999997</c:v>
                </c:pt>
                <c:pt idx="208">
                  <c:v>10.918333333333331</c:v>
                </c:pt>
                <c:pt idx="209">
                  <c:v>19.666666666666668</c:v>
                </c:pt>
                <c:pt idx="210">
                  <c:v>25.042083333333334</c:v>
                </c:pt>
                <c:pt idx="211">
                  <c:v>25.854583333333334</c:v>
                </c:pt>
                <c:pt idx="212">
                  <c:v>20.45</c:v>
                </c:pt>
                <c:pt idx="213">
                  <c:v>17.87125</c:v>
                </c:pt>
                <c:pt idx="214">
                  <c:v>16.326250000000002</c:v>
                </c:pt>
                <c:pt idx="215">
                  <c:v>11.893750000000002</c:v>
                </c:pt>
                <c:pt idx="216">
                  <c:v>20.37458333333333</c:v>
                </c:pt>
                <c:pt idx="217">
                  <c:v>22.624166666666667</c:v>
                </c:pt>
                <c:pt idx="218">
                  <c:v>20.529999999999998</c:v>
                </c:pt>
                <c:pt idx="219">
                  <c:v>20.317083333333333</c:v>
                </c:pt>
                <c:pt idx="220">
                  <c:v>20.141666666666669</c:v>
                </c:pt>
                <c:pt idx="221">
                  <c:v>16.587500000000002</c:v>
                </c:pt>
                <c:pt idx="222">
                  <c:v>13.328333333333333</c:v>
                </c:pt>
                <c:pt idx="223">
                  <c:v>21.515416666666667</c:v>
                </c:pt>
                <c:pt idx="224">
                  <c:v>25.463333333333335</c:v>
                </c:pt>
                <c:pt idx="225">
                  <c:v>25.029583333333335</c:v>
                </c:pt>
                <c:pt idx="226">
                  <c:v>29.751666666666665</c:v>
                </c:pt>
                <c:pt idx="227">
                  <c:v>21.90583333333333</c:v>
                </c:pt>
                <c:pt idx="228">
                  <c:v>13.996666666666664</c:v>
                </c:pt>
                <c:pt idx="229">
                  <c:v>10.397916666666667</c:v>
                </c:pt>
                <c:pt idx="230">
                  <c:v>19.057083333333335</c:v>
                </c:pt>
                <c:pt idx="231">
                  <c:v>23.212499999999995</c:v>
                </c:pt>
                <c:pt idx="232">
                  <c:v>28.279583333333331</c:v>
                </c:pt>
                <c:pt idx="233">
                  <c:v>29.046249999999997</c:v>
                </c:pt>
                <c:pt idx="234">
                  <c:v>29.392500000000009</c:v>
                </c:pt>
                <c:pt idx="235">
                  <c:v>22.61333333333333</c:v>
                </c:pt>
                <c:pt idx="236">
                  <c:v>16.643333333333331</c:v>
                </c:pt>
                <c:pt idx="237">
                  <c:v>25.489583333333332</c:v>
                </c:pt>
                <c:pt idx="238">
                  <c:v>39.32</c:v>
                </c:pt>
                <c:pt idx="239">
                  <c:v>33.389166666666668</c:v>
                </c:pt>
                <c:pt idx="240">
                  <c:v>49.773333333333333</c:v>
                </c:pt>
                <c:pt idx="241">
                  <c:v>31.924583333333342</c:v>
                </c:pt>
                <c:pt idx="242">
                  <c:v>19.765000000000001</c:v>
                </c:pt>
                <c:pt idx="243">
                  <c:v>17.672916666666669</c:v>
                </c:pt>
                <c:pt idx="244">
                  <c:v>37.672916666666673</c:v>
                </c:pt>
                <c:pt idx="245">
                  <c:v>39.348749999999988</c:v>
                </c:pt>
                <c:pt idx="246">
                  <c:v>23.808333333333326</c:v>
                </c:pt>
                <c:pt idx="247">
                  <c:v>29.659166666666675</c:v>
                </c:pt>
                <c:pt idx="248">
                  <c:v>29.343333333333323</c:v>
                </c:pt>
                <c:pt idx="249">
                  <c:v>26.331250000000001</c:v>
                </c:pt>
                <c:pt idx="250">
                  <c:v>18.26125</c:v>
                </c:pt>
                <c:pt idx="251">
                  <c:v>29.357500000000002</c:v>
                </c:pt>
                <c:pt idx="252">
                  <c:v>29.199166666666667</c:v>
                </c:pt>
                <c:pt idx="253">
                  <c:v>32.312916666666659</c:v>
                </c:pt>
                <c:pt idx="254">
                  <c:v>29.341666666666658</c:v>
                </c:pt>
                <c:pt idx="255">
                  <c:v>29.167916666666674</c:v>
                </c:pt>
                <c:pt idx="256">
                  <c:v>17.339583333333334</c:v>
                </c:pt>
                <c:pt idx="257">
                  <c:v>14.317916666666669</c:v>
                </c:pt>
                <c:pt idx="258">
                  <c:v>26.98041666666667</c:v>
                </c:pt>
                <c:pt idx="259">
                  <c:v>31.871249999999993</c:v>
                </c:pt>
                <c:pt idx="260">
                  <c:v>31.31291666666667</c:v>
                </c:pt>
                <c:pt idx="261">
                  <c:v>40.10625000000001</c:v>
                </c:pt>
                <c:pt idx="262">
                  <c:v>33.434999999999995</c:v>
                </c:pt>
                <c:pt idx="263">
                  <c:v>23.94</c:v>
                </c:pt>
                <c:pt idx="264">
                  <c:v>19.705000000000002</c:v>
                </c:pt>
                <c:pt idx="265">
                  <c:v>31.686250000000001</c:v>
                </c:pt>
                <c:pt idx="266">
                  <c:v>30.225833333333341</c:v>
                </c:pt>
                <c:pt idx="267">
                  <c:v>32.102916666666665</c:v>
                </c:pt>
                <c:pt idx="268">
                  <c:v>32.188749999999999</c:v>
                </c:pt>
                <c:pt idx="269">
                  <c:v>37.939583333333339</c:v>
                </c:pt>
                <c:pt idx="270">
                  <c:v>17.870833333333334</c:v>
                </c:pt>
                <c:pt idx="271">
                  <c:v>14.265833333333333</c:v>
                </c:pt>
                <c:pt idx="272">
                  <c:v>28.545000000000002</c:v>
                </c:pt>
                <c:pt idx="273">
                  <c:v>30.8125</c:v>
                </c:pt>
                <c:pt idx="274">
                  <c:v>32.173750000000005</c:v>
                </c:pt>
                <c:pt idx="275">
                  <c:v>20.838333333333335</c:v>
                </c:pt>
                <c:pt idx="276">
                  <c:v>26.025416666666668</c:v>
                </c:pt>
                <c:pt idx="277">
                  <c:v>17.266666666666669</c:v>
                </c:pt>
                <c:pt idx="278">
                  <c:v>12.77875</c:v>
                </c:pt>
                <c:pt idx="279">
                  <c:v>23.041666666666668</c:v>
                </c:pt>
                <c:pt idx="280">
                  <c:v>25.823333333333327</c:v>
                </c:pt>
                <c:pt idx="281">
                  <c:v>27.308333333333326</c:v>
                </c:pt>
                <c:pt idx="282">
                  <c:v>25.265416666666667</c:v>
                </c:pt>
                <c:pt idx="283">
                  <c:v>18.898750000000003</c:v>
                </c:pt>
                <c:pt idx="284">
                  <c:v>17.943749999999998</c:v>
                </c:pt>
                <c:pt idx="285">
                  <c:v>13.956250000000002</c:v>
                </c:pt>
                <c:pt idx="286">
                  <c:v>23.658333333333331</c:v>
                </c:pt>
                <c:pt idx="287">
                  <c:v>27.86791666666667</c:v>
                </c:pt>
                <c:pt idx="288">
                  <c:v>25.38291666666667</c:v>
                </c:pt>
                <c:pt idx="289">
                  <c:v>26.217916666666664</c:v>
                </c:pt>
                <c:pt idx="290">
                  <c:v>23.481250000000003</c:v>
                </c:pt>
                <c:pt idx="291">
                  <c:v>19.287500000000001</c:v>
                </c:pt>
                <c:pt idx="292">
                  <c:v>15.017083333333332</c:v>
                </c:pt>
                <c:pt idx="293">
                  <c:v>24.763333333333325</c:v>
                </c:pt>
                <c:pt idx="294">
                  <c:v>24.430833333333329</c:v>
                </c:pt>
                <c:pt idx="295">
                  <c:v>19.083333333333336</c:v>
                </c:pt>
                <c:pt idx="296">
                  <c:v>23.315833333333334</c:v>
                </c:pt>
                <c:pt idx="297">
                  <c:v>22.282083333333333</c:v>
                </c:pt>
                <c:pt idx="298">
                  <c:v>14.415416666666671</c:v>
                </c:pt>
                <c:pt idx="299">
                  <c:v>11.164999999999999</c:v>
                </c:pt>
                <c:pt idx="300">
                  <c:v>22.137083333333326</c:v>
                </c:pt>
                <c:pt idx="301">
                  <c:v>27.185833333333331</c:v>
                </c:pt>
                <c:pt idx="302">
                  <c:v>32.287500000000001</c:v>
                </c:pt>
                <c:pt idx="303">
                  <c:v>28.55083333333333</c:v>
                </c:pt>
                <c:pt idx="304">
                  <c:v>18.076666666666672</c:v>
                </c:pt>
                <c:pt idx="305">
                  <c:v>18.037083333333332</c:v>
                </c:pt>
                <c:pt idx="306">
                  <c:v>8.7470833333333342</c:v>
                </c:pt>
                <c:pt idx="307">
                  <c:v>21.319166666666664</c:v>
                </c:pt>
                <c:pt idx="308">
                  <c:v>27.603333333333335</c:v>
                </c:pt>
                <c:pt idx="309">
                  <c:v>26.419583333333335</c:v>
                </c:pt>
                <c:pt idx="310">
                  <c:v>30.927083333333332</c:v>
                </c:pt>
                <c:pt idx="311">
                  <c:v>23.157083333333333</c:v>
                </c:pt>
                <c:pt idx="312">
                  <c:v>15.655833333333334</c:v>
                </c:pt>
                <c:pt idx="313">
                  <c:v>10.446666666666667</c:v>
                </c:pt>
                <c:pt idx="314">
                  <c:v>20.227083333333333</c:v>
                </c:pt>
                <c:pt idx="315">
                  <c:v>22.81</c:v>
                </c:pt>
                <c:pt idx="316">
                  <c:v>28.926666666666673</c:v>
                </c:pt>
                <c:pt idx="317">
                  <c:v>24.39916666666667</c:v>
                </c:pt>
                <c:pt idx="318">
                  <c:v>20.809166666666666</c:v>
                </c:pt>
                <c:pt idx="319">
                  <c:v>14.167083333333329</c:v>
                </c:pt>
                <c:pt idx="320">
                  <c:v>7.685833333333334</c:v>
                </c:pt>
                <c:pt idx="321">
                  <c:v>18.7425</c:v>
                </c:pt>
                <c:pt idx="322">
                  <c:v>19.679583333333333</c:v>
                </c:pt>
                <c:pt idx="323">
                  <c:v>19.070833333333329</c:v>
                </c:pt>
                <c:pt idx="324">
                  <c:v>19.967083333333331</c:v>
                </c:pt>
                <c:pt idx="325">
                  <c:v>18.833333333333332</c:v>
                </c:pt>
                <c:pt idx="326">
                  <c:v>17.706249999999997</c:v>
                </c:pt>
                <c:pt idx="327">
                  <c:v>10.431249999999999</c:v>
                </c:pt>
                <c:pt idx="328">
                  <c:v>17.701249999999998</c:v>
                </c:pt>
                <c:pt idx="329">
                  <c:v>22.894166666666663</c:v>
                </c:pt>
                <c:pt idx="330">
                  <c:v>19.67166666666667</c:v>
                </c:pt>
                <c:pt idx="331">
                  <c:v>24.383333333333329</c:v>
                </c:pt>
                <c:pt idx="332">
                  <c:v>19.839166666666667</c:v>
                </c:pt>
                <c:pt idx="333">
                  <c:v>17.617083333333333</c:v>
                </c:pt>
                <c:pt idx="334">
                  <c:v>10.506666666666666</c:v>
                </c:pt>
                <c:pt idx="335">
                  <c:v>22.979999999999993</c:v>
                </c:pt>
                <c:pt idx="336">
                  <c:v>27.838333333333335</c:v>
                </c:pt>
                <c:pt idx="337">
                  <c:v>29.137499999999999</c:v>
                </c:pt>
                <c:pt idx="338">
                  <c:v>26.809583333333332</c:v>
                </c:pt>
                <c:pt idx="339">
                  <c:v>23.923333333333336</c:v>
                </c:pt>
                <c:pt idx="340">
                  <c:v>14.52541666666667</c:v>
                </c:pt>
                <c:pt idx="341">
                  <c:v>11.074583333333335</c:v>
                </c:pt>
                <c:pt idx="342">
                  <c:v>26.400416666666672</c:v>
                </c:pt>
                <c:pt idx="343">
                  <c:v>36.501249999999999</c:v>
                </c:pt>
                <c:pt idx="344">
                  <c:v>38.784166666666671</c:v>
                </c:pt>
                <c:pt idx="345">
                  <c:v>40.048333333333339</c:v>
                </c:pt>
                <c:pt idx="346">
                  <c:v>39.040833333333332</c:v>
                </c:pt>
                <c:pt idx="347">
                  <c:v>21.017916666666665</c:v>
                </c:pt>
                <c:pt idx="348">
                  <c:v>13.750000000000002</c:v>
                </c:pt>
                <c:pt idx="349">
                  <c:v>33.793333333333329</c:v>
                </c:pt>
                <c:pt idx="350">
                  <c:v>37.446249999999999</c:v>
                </c:pt>
                <c:pt idx="351">
                  <c:v>30.207916666666666</c:v>
                </c:pt>
                <c:pt idx="352">
                  <c:v>32.027500000000003</c:v>
                </c:pt>
                <c:pt idx="353">
                  <c:v>26.995416666666667</c:v>
                </c:pt>
                <c:pt idx="354">
                  <c:v>28.603749999999994</c:v>
                </c:pt>
                <c:pt idx="355">
                  <c:v>14.304999999999998</c:v>
                </c:pt>
                <c:pt idx="356">
                  <c:v>14.782500000000001</c:v>
                </c:pt>
                <c:pt idx="357">
                  <c:v>3.4674999999999998</c:v>
                </c:pt>
                <c:pt idx="358">
                  <c:v>4.3704166666666673</c:v>
                </c:pt>
                <c:pt idx="359">
                  <c:v>4.4108333333333336</c:v>
                </c:pt>
                <c:pt idx="360">
                  <c:v>12.396250000000002</c:v>
                </c:pt>
                <c:pt idx="361">
                  <c:v>17.223749999999999</c:v>
                </c:pt>
                <c:pt idx="362">
                  <c:v>10.811249999999999</c:v>
                </c:pt>
                <c:pt idx="363">
                  <c:v>14.761249999999997</c:v>
                </c:pt>
                <c:pt idx="364">
                  <c:v>8.1987500000000004</c:v>
                </c:pt>
                <c:pt idx="365">
                  <c:v>-25.304583333333337</c:v>
                </c:pt>
                <c:pt idx="366">
                  <c:v>33.437083333333341</c:v>
                </c:pt>
                <c:pt idx="367">
                  <c:v>8.9687500000000018</c:v>
                </c:pt>
                <c:pt idx="368">
                  <c:v>29.86375</c:v>
                </c:pt>
                <c:pt idx="369">
                  <c:v>31.508750000000003</c:v>
                </c:pt>
                <c:pt idx="370">
                  <c:v>36.601666666666667</c:v>
                </c:pt>
                <c:pt idx="371">
                  <c:v>23.387083333333333</c:v>
                </c:pt>
                <c:pt idx="372">
                  <c:v>30.504166666666659</c:v>
                </c:pt>
                <c:pt idx="373">
                  <c:v>30.263749999999998</c:v>
                </c:pt>
                <c:pt idx="374">
                  <c:v>41.333333333333336</c:v>
                </c:pt>
                <c:pt idx="375">
                  <c:v>47.730416666666656</c:v>
                </c:pt>
                <c:pt idx="376">
                  <c:v>41.877916666666671</c:v>
                </c:pt>
                <c:pt idx="377">
                  <c:v>33.776666666666657</c:v>
                </c:pt>
                <c:pt idx="378">
                  <c:v>28.642500000000009</c:v>
                </c:pt>
                <c:pt idx="379">
                  <c:v>26.57416666666666</c:v>
                </c:pt>
                <c:pt idx="380">
                  <c:v>27.219166666666666</c:v>
                </c:pt>
                <c:pt idx="381">
                  <c:v>29.037916666666675</c:v>
                </c:pt>
                <c:pt idx="382">
                  <c:v>30.31958333333333</c:v>
                </c:pt>
                <c:pt idx="383">
                  <c:v>40.477083333333333</c:v>
                </c:pt>
                <c:pt idx="384">
                  <c:v>35.869166666666665</c:v>
                </c:pt>
                <c:pt idx="385">
                  <c:v>34.611666666666657</c:v>
                </c:pt>
                <c:pt idx="386">
                  <c:v>37.898333333333333</c:v>
                </c:pt>
                <c:pt idx="387">
                  <c:v>37.275416666666665</c:v>
                </c:pt>
                <c:pt idx="388">
                  <c:v>23.880833333333339</c:v>
                </c:pt>
                <c:pt idx="389">
                  <c:v>32.970833333333339</c:v>
                </c:pt>
                <c:pt idx="390">
                  <c:v>45.145833333333336</c:v>
                </c:pt>
                <c:pt idx="391">
                  <c:v>32.807916666666664</c:v>
                </c:pt>
                <c:pt idx="392">
                  <c:v>5.1124999999999998</c:v>
                </c:pt>
                <c:pt idx="393">
                  <c:v>16.485416666666669</c:v>
                </c:pt>
                <c:pt idx="394">
                  <c:v>35.808749999999996</c:v>
                </c:pt>
                <c:pt idx="395">
                  <c:v>29.223750000000006</c:v>
                </c:pt>
                <c:pt idx="396">
                  <c:v>33.975416666666668</c:v>
                </c:pt>
                <c:pt idx="397">
                  <c:v>40.478333333333339</c:v>
                </c:pt>
                <c:pt idx="398">
                  <c:v>40.284166666666671</c:v>
                </c:pt>
                <c:pt idx="399">
                  <c:v>33.559583333333336</c:v>
                </c:pt>
                <c:pt idx="400">
                  <c:v>45.104999999999997</c:v>
                </c:pt>
                <c:pt idx="401">
                  <c:v>47.117916666666673</c:v>
                </c:pt>
                <c:pt idx="402">
                  <c:v>47.229166666666679</c:v>
                </c:pt>
                <c:pt idx="403">
                  <c:v>49.864583333333321</c:v>
                </c:pt>
                <c:pt idx="404">
                  <c:v>40.797916666666666</c:v>
                </c:pt>
                <c:pt idx="405">
                  <c:v>39.376666666666665</c:v>
                </c:pt>
                <c:pt idx="406">
                  <c:v>11.479583333333336</c:v>
                </c:pt>
                <c:pt idx="407">
                  <c:v>32.815416666666671</c:v>
                </c:pt>
                <c:pt idx="408">
                  <c:v>39.603333333333325</c:v>
                </c:pt>
                <c:pt idx="409">
                  <c:v>39.860416666666673</c:v>
                </c:pt>
                <c:pt idx="410">
                  <c:v>34.156666666666673</c:v>
                </c:pt>
                <c:pt idx="411">
                  <c:v>40.391666666666673</c:v>
                </c:pt>
                <c:pt idx="412">
                  <c:v>40.687916666666673</c:v>
                </c:pt>
                <c:pt idx="413">
                  <c:v>36.579166666666659</c:v>
                </c:pt>
                <c:pt idx="414">
                  <c:v>50.302500000000002</c:v>
                </c:pt>
                <c:pt idx="415">
                  <c:v>49.050416666666671</c:v>
                </c:pt>
                <c:pt idx="416">
                  <c:v>46.754583333333329</c:v>
                </c:pt>
                <c:pt idx="417">
                  <c:v>47.415416666666658</c:v>
                </c:pt>
                <c:pt idx="418">
                  <c:v>44.270416666666655</c:v>
                </c:pt>
                <c:pt idx="419">
                  <c:v>23.934583333333336</c:v>
                </c:pt>
                <c:pt idx="420">
                  <c:v>35.120416666666664</c:v>
                </c:pt>
                <c:pt idx="421">
                  <c:v>46.699583333333344</c:v>
                </c:pt>
                <c:pt idx="422">
                  <c:v>48.612916666666678</c:v>
                </c:pt>
                <c:pt idx="423">
                  <c:v>37.69916666666667</c:v>
                </c:pt>
                <c:pt idx="424">
                  <c:v>30.01958333333333</c:v>
                </c:pt>
                <c:pt idx="425">
                  <c:v>40.42</c:v>
                </c:pt>
                <c:pt idx="426">
                  <c:v>34.491666666666667</c:v>
                </c:pt>
                <c:pt idx="427">
                  <c:v>31.326666666666664</c:v>
                </c:pt>
                <c:pt idx="428">
                  <c:v>49.058749999999996</c:v>
                </c:pt>
                <c:pt idx="429">
                  <c:v>49.921250000000008</c:v>
                </c:pt>
                <c:pt idx="430">
                  <c:v>48.381249999999987</c:v>
                </c:pt>
                <c:pt idx="431">
                  <c:v>37.528749999999995</c:v>
                </c:pt>
                <c:pt idx="432">
                  <c:v>37.077500000000008</c:v>
                </c:pt>
                <c:pt idx="433">
                  <c:v>34.760833333333331</c:v>
                </c:pt>
                <c:pt idx="434">
                  <c:v>28.720833333333328</c:v>
                </c:pt>
                <c:pt idx="435">
                  <c:v>41.219583333333333</c:v>
                </c:pt>
                <c:pt idx="436">
                  <c:v>39.855000000000011</c:v>
                </c:pt>
                <c:pt idx="437">
                  <c:v>46.78208333333334</c:v>
                </c:pt>
                <c:pt idx="438">
                  <c:v>24.627916666666664</c:v>
                </c:pt>
                <c:pt idx="439">
                  <c:v>29.322500000000002</c:v>
                </c:pt>
                <c:pt idx="440">
                  <c:v>3.9783333333333339</c:v>
                </c:pt>
                <c:pt idx="441">
                  <c:v>1.7933333333333337</c:v>
                </c:pt>
                <c:pt idx="442">
                  <c:v>49.118749999999999</c:v>
                </c:pt>
                <c:pt idx="443">
                  <c:v>42.942083333333336</c:v>
                </c:pt>
                <c:pt idx="444">
                  <c:v>51.832499999999989</c:v>
                </c:pt>
                <c:pt idx="445">
                  <c:v>43.590833333333343</c:v>
                </c:pt>
                <c:pt idx="446">
                  <c:v>52.890000000000008</c:v>
                </c:pt>
                <c:pt idx="447">
                  <c:v>41.401250000000005</c:v>
                </c:pt>
                <c:pt idx="448">
                  <c:v>37.722173913043477</c:v>
                </c:pt>
                <c:pt idx="449">
                  <c:v>52.816249999999997</c:v>
                </c:pt>
                <c:pt idx="450">
                  <c:v>45.072916666666679</c:v>
                </c:pt>
                <c:pt idx="451">
                  <c:v>40.534166666666664</c:v>
                </c:pt>
                <c:pt idx="452">
                  <c:v>38.092916666666667</c:v>
                </c:pt>
                <c:pt idx="453">
                  <c:v>29.391250000000003</c:v>
                </c:pt>
                <c:pt idx="454">
                  <c:v>23.591666666666658</c:v>
                </c:pt>
                <c:pt idx="455">
                  <c:v>24.17166666666667</c:v>
                </c:pt>
                <c:pt idx="456">
                  <c:v>27.607500000000005</c:v>
                </c:pt>
                <c:pt idx="457">
                  <c:v>34.416666666666664</c:v>
                </c:pt>
                <c:pt idx="458">
                  <c:v>36.524999999999999</c:v>
                </c:pt>
                <c:pt idx="459">
                  <c:v>32.563749999999999</c:v>
                </c:pt>
                <c:pt idx="460">
                  <c:v>35.204166666666659</c:v>
                </c:pt>
                <c:pt idx="461">
                  <c:v>16.476249999999997</c:v>
                </c:pt>
                <c:pt idx="462">
                  <c:v>22.981666666666669</c:v>
                </c:pt>
                <c:pt idx="463">
                  <c:v>42.614166666666669</c:v>
                </c:pt>
                <c:pt idx="464">
                  <c:v>36.033749999999998</c:v>
                </c:pt>
                <c:pt idx="465">
                  <c:v>31.518750000000008</c:v>
                </c:pt>
                <c:pt idx="466">
                  <c:v>29.842916666666667</c:v>
                </c:pt>
                <c:pt idx="467">
                  <c:v>38.528333333333329</c:v>
                </c:pt>
                <c:pt idx="468">
                  <c:v>35.302916666666668</c:v>
                </c:pt>
                <c:pt idx="469">
                  <c:v>31.645833333333332</c:v>
                </c:pt>
                <c:pt idx="470">
                  <c:v>46.62583333333334</c:v>
                </c:pt>
                <c:pt idx="471">
                  <c:v>43.800833333333337</c:v>
                </c:pt>
                <c:pt idx="472">
                  <c:v>41.062083333333327</c:v>
                </c:pt>
                <c:pt idx="473">
                  <c:v>39.844166666666666</c:v>
                </c:pt>
                <c:pt idx="474">
                  <c:v>38.631666666666668</c:v>
                </c:pt>
                <c:pt idx="475">
                  <c:v>30.002500000000001</c:v>
                </c:pt>
                <c:pt idx="476">
                  <c:v>18.588333333333335</c:v>
                </c:pt>
                <c:pt idx="477">
                  <c:v>32.562916666666666</c:v>
                </c:pt>
                <c:pt idx="478">
                  <c:v>34.320416666666659</c:v>
                </c:pt>
                <c:pt idx="479">
                  <c:v>27.294583333333332</c:v>
                </c:pt>
                <c:pt idx="480">
                  <c:v>30.454166666666666</c:v>
                </c:pt>
                <c:pt idx="481">
                  <c:v>39.637916666666662</c:v>
                </c:pt>
                <c:pt idx="482">
                  <c:v>29.091666666666665</c:v>
                </c:pt>
                <c:pt idx="483">
                  <c:v>21.387500000000003</c:v>
                </c:pt>
                <c:pt idx="484">
                  <c:v>12.949999999999998</c:v>
                </c:pt>
                <c:pt idx="485">
                  <c:v>-5.7029166666666669</c:v>
                </c:pt>
                <c:pt idx="486">
                  <c:v>39.950416666666662</c:v>
                </c:pt>
                <c:pt idx="487">
                  <c:v>39.986666666666657</c:v>
                </c:pt>
                <c:pt idx="488">
                  <c:v>40.508333333333333</c:v>
                </c:pt>
                <c:pt idx="489">
                  <c:v>28.407916666666665</c:v>
                </c:pt>
                <c:pt idx="490">
                  <c:v>19.678749999999997</c:v>
                </c:pt>
                <c:pt idx="491">
                  <c:v>34.396666666666668</c:v>
                </c:pt>
                <c:pt idx="492">
                  <c:v>27.470000000000002</c:v>
                </c:pt>
                <c:pt idx="493">
                  <c:v>36.623750000000001</c:v>
                </c:pt>
                <c:pt idx="494">
                  <c:v>25.224999999999994</c:v>
                </c:pt>
                <c:pt idx="495">
                  <c:v>42.202500000000001</c:v>
                </c:pt>
                <c:pt idx="496">
                  <c:v>32.500416666666673</c:v>
                </c:pt>
                <c:pt idx="497">
                  <c:v>16.645416666666666</c:v>
                </c:pt>
                <c:pt idx="498">
                  <c:v>34.697083333333332</c:v>
                </c:pt>
                <c:pt idx="499">
                  <c:v>42.425833333333337</c:v>
                </c:pt>
                <c:pt idx="500">
                  <c:v>41.602916666666665</c:v>
                </c:pt>
                <c:pt idx="501">
                  <c:v>35.386249999999997</c:v>
                </c:pt>
                <c:pt idx="502">
                  <c:v>39.107916666666675</c:v>
                </c:pt>
                <c:pt idx="503">
                  <c:v>36.357083333333328</c:v>
                </c:pt>
                <c:pt idx="504">
                  <c:v>16.678749999999997</c:v>
                </c:pt>
                <c:pt idx="505">
                  <c:v>5.6624999999999979</c:v>
                </c:pt>
                <c:pt idx="506">
                  <c:v>42.757916666666659</c:v>
                </c:pt>
                <c:pt idx="507">
                  <c:v>42.332916666666662</c:v>
                </c:pt>
                <c:pt idx="508">
                  <c:v>38.950833333333335</c:v>
                </c:pt>
                <c:pt idx="509">
                  <c:v>40.362499999999997</c:v>
                </c:pt>
                <c:pt idx="510">
                  <c:v>37.075416666666669</c:v>
                </c:pt>
                <c:pt idx="511">
                  <c:v>32.884583333333332</c:v>
                </c:pt>
                <c:pt idx="512">
                  <c:v>43.797916666666659</c:v>
                </c:pt>
                <c:pt idx="513">
                  <c:v>42.91041666666667</c:v>
                </c:pt>
                <c:pt idx="514">
                  <c:v>46.675833333333337</c:v>
                </c:pt>
                <c:pt idx="515">
                  <c:v>42.247499999999995</c:v>
                </c:pt>
                <c:pt idx="516">
                  <c:v>51.297916666666659</c:v>
                </c:pt>
                <c:pt idx="517">
                  <c:v>40.224583333333328</c:v>
                </c:pt>
                <c:pt idx="518">
                  <c:v>32.489166666666669</c:v>
                </c:pt>
                <c:pt idx="519">
                  <c:v>46.840833333333336</c:v>
                </c:pt>
                <c:pt idx="520">
                  <c:v>51.009999999999991</c:v>
                </c:pt>
                <c:pt idx="521">
                  <c:v>49.691250000000004</c:v>
                </c:pt>
                <c:pt idx="522">
                  <c:v>49.610000000000014</c:v>
                </c:pt>
                <c:pt idx="523">
                  <c:v>49.399583333333332</c:v>
                </c:pt>
                <c:pt idx="524">
                  <c:v>42.470416666666658</c:v>
                </c:pt>
                <c:pt idx="525">
                  <c:v>39.32833333333334</c:v>
                </c:pt>
                <c:pt idx="526">
                  <c:v>48.533333333333331</c:v>
                </c:pt>
                <c:pt idx="527">
                  <c:v>49.727083333333333</c:v>
                </c:pt>
                <c:pt idx="528">
                  <c:v>48.149583333333332</c:v>
                </c:pt>
                <c:pt idx="529">
                  <c:v>43.64875</c:v>
                </c:pt>
                <c:pt idx="530">
                  <c:v>49.446249999999999</c:v>
                </c:pt>
                <c:pt idx="531">
                  <c:v>40.208749999999995</c:v>
                </c:pt>
                <c:pt idx="532">
                  <c:v>24.335833333333341</c:v>
                </c:pt>
                <c:pt idx="533">
                  <c:v>44.366666666666667</c:v>
                </c:pt>
                <c:pt idx="534">
                  <c:v>46.517500000000005</c:v>
                </c:pt>
                <c:pt idx="535">
                  <c:v>46.795000000000009</c:v>
                </c:pt>
                <c:pt idx="536">
                  <c:v>30.236666666666665</c:v>
                </c:pt>
                <c:pt idx="537">
                  <c:v>20.725416666666664</c:v>
                </c:pt>
                <c:pt idx="538">
                  <c:v>23.887083333333326</c:v>
                </c:pt>
                <c:pt idx="539">
                  <c:v>31.934166666666666</c:v>
                </c:pt>
                <c:pt idx="540">
                  <c:v>45.201249999999995</c:v>
                </c:pt>
                <c:pt idx="541">
                  <c:v>49.266249999999992</c:v>
                </c:pt>
                <c:pt idx="542">
                  <c:v>47.487916666666671</c:v>
                </c:pt>
                <c:pt idx="543">
                  <c:v>44.893333333333338</c:v>
                </c:pt>
                <c:pt idx="544">
                  <c:v>44.31666666666667</c:v>
                </c:pt>
                <c:pt idx="545">
                  <c:v>40.657499999999992</c:v>
                </c:pt>
                <c:pt idx="546">
                  <c:v>28.919166666666658</c:v>
                </c:pt>
                <c:pt idx="547">
                  <c:v>48.068333333333335</c:v>
                </c:pt>
                <c:pt idx="548">
                  <c:v>49.75916666666668</c:v>
                </c:pt>
                <c:pt idx="549">
                  <c:v>53.209166666666668</c:v>
                </c:pt>
                <c:pt idx="550">
                  <c:v>51.811666666666667</c:v>
                </c:pt>
                <c:pt idx="551">
                  <c:v>47.81333333333334</c:v>
                </c:pt>
                <c:pt idx="552">
                  <c:v>32.895000000000003</c:v>
                </c:pt>
                <c:pt idx="553">
                  <c:v>34.260416666666664</c:v>
                </c:pt>
                <c:pt idx="554">
                  <c:v>46.600416666666668</c:v>
                </c:pt>
                <c:pt idx="555">
                  <c:v>52.950416666666662</c:v>
                </c:pt>
                <c:pt idx="556">
                  <c:v>52.499583333333334</c:v>
                </c:pt>
                <c:pt idx="557">
                  <c:v>53.306666666666651</c:v>
                </c:pt>
                <c:pt idx="558">
                  <c:v>50.834583333333335</c:v>
                </c:pt>
                <c:pt idx="559">
                  <c:v>48.179166666666653</c:v>
                </c:pt>
                <c:pt idx="560">
                  <c:v>45.873333333333335</c:v>
                </c:pt>
                <c:pt idx="561">
                  <c:v>53.80333333333332</c:v>
                </c:pt>
                <c:pt idx="562">
                  <c:v>52.137499999999996</c:v>
                </c:pt>
                <c:pt idx="563">
                  <c:v>49.749999999999993</c:v>
                </c:pt>
                <c:pt idx="564">
                  <c:v>51.645000000000003</c:v>
                </c:pt>
                <c:pt idx="565">
                  <c:v>53.542916666666656</c:v>
                </c:pt>
                <c:pt idx="566">
                  <c:v>50.172499999999985</c:v>
                </c:pt>
                <c:pt idx="567">
                  <c:v>46.252916666666671</c:v>
                </c:pt>
                <c:pt idx="568">
                  <c:v>55.02208333333332</c:v>
                </c:pt>
                <c:pt idx="569">
                  <c:v>56.64083333333334</c:v>
                </c:pt>
                <c:pt idx="570">
                  <c:v>58.413749999999993</c:v>
                </c:pt>
                <c:pt idx="571">
                  <c:v>55.071249999999999</c:v>
                </c:pt>
                <c:pt idx="572">
                  <c:v>53.626249999999999</c:v>
                </c:pt>
                <c:pt idx="573">
                  <c:v>46.401249999999997</c:v>
                </c:pt>
                <c:pt idx="574">
                  <c:v>44.870833333333344</c:v>
                </c:pt>
                <c:pt idx="575">
                  <c:v>55.187499999999993</c:v>
                </c:pt>
                <c:pt idx="576">
                  <c:v>56.328749999999992</c:v>
                </c:pt>
                <c:pt idx="577">
                  <c:v>56.318333333333335</c:v>
                </c:pt>
                <c:pt idx="578">
                  <c:v>59.478749999999998</c:v>
                </c:pt>
                <c:pt idx="579">
                  <c:v>62.721249999999998</c:v>
                </c:pt>
                <c:pt idx="580">
                  <c:v>51.1175</c:v>
                </c:pt>
                <c:pt idx="581">
                  <c:v>50.485000000000007</c:v>
                </c:pt>
                <c:pt idx="582">
                  <c:v>62.692916666666662</c:v>
                </c:pt>
                <c:pt idx="583">
                  <c:v>64.677499999999995</c:v>
                </c:pt>
                <c:pt idx="584">
                  <c:v>56.107500000000016</c:v>
                </c:pt>
                <c:pt idx="585">
                  <c:v>55.064583333333331</c:v>
                </c:pt>
                <c:pt idx="586">
                  <c:v>44.941666666666663</c:v>
                </c:pt>
                <c:pt idx="587">
                  <c:v>44.519166666666656</c:v>
                </c:pt>
                <c:pt idx="588">
                  <c:v>42.645833333333329</c:v>
                </c:pt>
                <c:pt idx="589">
                  <c:v>55.99124999999998</c:v>
                </c:pt>
                <c:pt idx="590">
                  <c:v>55.057916666666678</c:v>
                </c:pt>
                <c:pt idx="591">
                  <c:v>53.449166666666663</c:v>
                </c:pt>
                <c:pt idx="592">
                  <c:v>56.03541666666667</c:v>
                </c:pt>
                <c:pt idx="593">
                  <c:v>57.95416666666668</c:v>
                </c:pt>
                <c:pt idx="594">
                  <c:v>53.773333333333333</c:v>
                </c:pt>
                <c:pt idx="595">
                  <c:v>49.767083333333318</c:v>
                </c:pt>
                <c:pt idx="596">
                  <c:v>57.222916666666656</c:v>
                </c:pt>
                <c:pt idx="597">
                  <c:v>66.446249999999992</c:v>
                </c:pt>
                <c:pt idx="598">
                  <c:v>65.397500000000008</c:v>
                </c:pt>
                <c:pt idx="599">
                  <c:v>63.867500000000007</c:v>
                </c:pt>
                <c:pt idx="600">
                  <c:v>57.601249999999993</c:v>
                </c:pt>
                <c:pt idx="601">
                  <c:v>53.646250000000002</c:v>
                </c:pt>
                <c:pt idx="602">
                  <c:v>48.501666666666658</c:v>
                </c:pt>
                <c:pt idx="603">
                  <c:v>45.568749999999994</c:v>
                </c:pt>
                <c:pt idx="604">
                  <c:v>66.064999999999984</c:v>
                </c:pt>
                <c:pt idx="605">
                  <c:v>62.873333333333335</c:v>
                </c:pt>
                <c:pt idx="606">
                  <c:v>57.401666666666664</c:v>
                </c:pt>
                <c:pt idx="607">
                  <c:v>64.481249999999989</c:v>
                </c:pt>
                <c:pt idx="608">
                  <c:v>59.762916666666662</c:v>
                </c:pt>
                <c:pt idx="609">
                  <c:v>52.943333333333328</c:v>
                </c:pt>
                <c:pt idx="610">
                  <c:v>63.546250000000008</c:v>
                </c:pt>
                <c:pt idx="611">
                  <c:v>66.583749999999995</c:v>
                </c:pt>
                <c:pt idx="612">
                  <c:v>66.640833333333333</c:v>
                </c:pt>
                <c:pt idx="613">
                  <c:v>65.334583333333342</c:v>
                </c:pt>
                <c:pt idx="614">
                  <c:v>62.434583333333343</c:v>
                </c:pt>
                <c:pt idx="615">
                  <c:v>50.105833333333329</c:v>
                </c:pt>
                <c:pt idx="616">
                  <c:v>49.161250000000017</c:v>
                </c:pt>
                <c:pt idx="617">
                  <c:v>64.309999999999988</c:v>
                </c:pt>
                <c:pt idx="618">
                  <c:v>57.795833333333327</c:v>
                </c:pt>
                <c:pt idx="619">
                  <c:v>63.783749999999991</c:v>
                </c:pt>
                <c:pt idx="620">
                  <c:v>71.522916666666674</c:v>
                </c:pt>
                <c:pt idx="621">
                  <c:v>64.84041666666667</c:v>
                </c:pt>
                <c:pt idx="622">
                  <c:v>51.788749999999993</c:v>
                </c:pt>
                <c:pt idx="623">
                  <c:v>47.336666666666673</c:v>
                </c:pt>
                <c:pt idx="624">
                  <c:v>62.408333333333331</c:v>
                </c:pt>
                <c:pt idx="625">
                  <c:v>57.960416666666674</c:v>
                </c:pt>
                <c:pt idx="626">
                  <c:v>57.59833333333335</c:v>
                </c:pt>
                <c:pt idx="627">
                  <c:v>58.06</c:v>
                </c:pt>
                <c:pt idx="628">
                  <c:v>40.799166666666672</c:v>
                </c:pt>
                <c:pt idx="629">
                  <c:v>25.409166666666664</c:v>
                </c:pt>
                <c:pt idx="630">
                  <c:v>44.150416666666672</c:v>
                </c:pt>
                <c:pt idx="631">
                  <c:v>38.880000000000003</c:v>
                </c:pt>
                <c:pt idx="632">
                  <c:v>62.339583333333337</c:v>
                </c:pt>
                <c:pt idx="633">
                  <c:v>45.377499999999998</c:v>
                </c:pt>
                <c:pt idx="634">
                  <c:v>53.889166666666661</c:v>
                </c:pt>
                <c:pt idx="635">
                  <c:v>51.967916666666675</c:v>
                </c:pt>
                <c:pt idx="636">
                  <c:v>46.49</c:v>
                </c:pt>
                <c:pt idx="637">
                  <c:v>41.7425</c:v>
                </c:pt>
                <c:pt idx="638">
                  <c:v>61.244583333333331</c:v>
                </c:pt>
                <c:pt idx="639">
                  <c:v>42.338750000000005</c:v>
                </c:pt>
                <c:pt idx="640">
                  <c:v>18.293749999999999</c:v>
                </c:pt>
                <c:pt idx="641">
                  <c:v>65.152083333333337</c:v>
                </c:pt>
                <c:pt idx="642">
                  <c:v>60.295833333333327</c:v>
                </c:pt>
                <c:pt idx="643">
                  <c:v>57.914166666666659</c:v>
                </c:pt>
                <c:pt idx="644">
                  <c:v>54.918333333333322</c:v>
                </c:pt>
                <c:pt idx="645">
                  <c:v>63.883750000000013</c:v>
                </c:pt>
                <c:pt idx="646">
                  <c:v>71.564999999999998</c:v>
                </c:pt>
                <c:pt idx="647">
                  <c:v>62.172083333333354</c:v>
                </c:pt>
                <c:pt idx="648">
                  <c:v>54.351666666666659</c:v>
                </c:pt>
                <c:pt idx="649">
                  <c:v>56.770416666666677</c:v>
                </c:pt>
                <c:pt idx="650">
                  <c:v>44.881666666666661</c:v>
                </c:pt>
                <c:pt idx="651">
                  <c:v>28.085833333333337</c:v>
                </c:pt>
                <c:pt idx="652">
                  <c:v>59.449166666666663</c:v>
                </c:pt>
                <c:pt idx="653">
                  <c:v>71.997916666666654</c:v>
                </c:pt>
                <c:pt idx="654">
                  <c:v>70.910416666666649</c:v>
                </c:pt>
                <c:pt idx="655">
                  <c:v>63.164166666666652</c:v>
                </c:pt>
                <c:pt idx="656">
                  <c:v>67.612916666666663</c:v>
                </c:pt>
                <c:pt idx="657">
                  <c:v>59.378750000000004</c:v>
                </c:pt>
                <c:pt idx="658">
                  <c:v>55.50708333333332</c:v>
                </c:pt>
                <c:pt idx="659">
                  <c:v>56.129999999999988</c:v>
                </c:pt>
                <c:pt idx="660">
                  <c:v>34.622500000000009</c:v>
                </c:pt>
                <c:pt idx="661">
                  <c:v>44.572083333333325</c:v>
                </c:pt>
                <c:pt idx="662">
                  <c:v>48.74</c:v>
                </c:pt>
                <c:pt idx="663">
                  <c:v>58.526250000000005</c:v>
                </c:pt>
                <c:pt idx="664">
                  <c:v>48.124166666666667</c:v>
                </c:pt>
                <c:pt idx="665">
                  <c:v>44.007200000000005</c:v>
                </c:pt>
                <c:pt idx="666">
                  <c:v>43.974166666666669</c:v>
                </c:pt>
                <c:pt idx="667">
                  <c:v>33.672916666666666</c:v>
                </c:pt>
                <c:pt idx="668">
                  <c:v>45.139166666666661</c:v>
                </c:pt>
                <c:pt idx="669">
                  <c:v>47.913333333333327</c:v>
                </c:pt>
                <c:pt idx="670">
                  <c:v>54.76874999999999</c:v>
                </c:pt>
                <c:pt idx="671">
                  <c:v>52.042916666666663</c:v>
                </c:pt>
                <c:pt idx="672">
                  <c:v>47.467500000000008</c:v>
                </c:pt>
                <c:pt idx="673">
                  <c:v>57.194166666666668</c:v>
                </c:pt>
                <c:pt idx="674">
                  <c:v>58.549583333333324</c:v>
                </c:pt>
                <c:pt idx="675">
                  <c:v>56.007916666666659</c:v>
                </c:pt>
                <c:pt idx="676">
                  <c:v>62.870416666666664</c:v>
                </c:pt>
                <c:pt idx="677">
                  <c:v>59.514583333333327</c:v>
                </c:pt>
                <c:pt idx="678">
                  <c:v>43.065416666666664</c:v>
                </c:pt>
                <c:pt idx="679">
                  <c:v>39.728333333333332</c:v>
                </c:pt>
                <c:pt idx="680">
                  <c:v>54.904583333333328</c:v>
                </c:pt>
                <c:pt idx="681">
                  <c:v>53.107916666666661</c:v>
                </c:pt>
                <c:pt idx="682">
                  <c:v>61.867916666666673</c:v>
                </c:pt>
                <c:pt idx="683">
                  <c:v>63.479166666666664</c:v>
                </c:pt>
                <c:pt idx="684">
                  <c:v>57.769166666666678</c:v>
                </c:pt>
                <c:pt idx="685">
                  <c:v>48.207083333333337</c:v>
                </c:pt>
                <c:pt idx="686">
                  <c:v>47.604166666666657</c:v>
                </c:pt>
                <c:pt idx="687">
                  <c:v>48.215000000000003</c:v>
                </c:pt>
                <c:pt idx="688">
                  <c:v>46.653749999999981</c:v>
                </c:pt>
                <c:pt idx="689">
                  <c:v>55.358750000000008</c:v>
                </c:pt>
                <c:pt idx="690">
                  <c:v>77.803333333333356</c:v>
                </c:pt>
                <c:pt idx="691">
                  <c:v>80.331250000000011</c:v>
                </c:pt>
                <c:pt idx="692">
                  <c:v>61.945833333333319</c:v>
                </c:pt>
                <c:pt idx="693">
                  <c:v>53.845833333333331</c:v>
                </c:pt>
                <c:pt idx="694">
                  <c:v>73.668750000000003</c:v>
                </c:pt>
                <c:pt idx="695">
                  <c:v>75.505416666666662</c:v>
                </c:pt>
                <c:pt idx="696">
                  <c:v>52.988749999999989</c:v>
                </c:pt>
                <c:pt idx="697">
                  <c:v>50.39875</c:v>
                </c:pt>
                <c:pt idx="698">
                  <c:v>57.502083333333331</c:v>
                </c:pt>
                <c:pt idx="699">
                  <c:v>46.86249999999999</c:v>
                </c:pt>
                <c:pt idx="700">
                  <c:v>30.199166666666674</c:v>
                </c:pt>
                <c:pt idx="701">
                  <c:v>44.616666666666674</c:v>
                </c:pt>
                <c:pt idx="702">
                  <c:v>50.64875</c:v>
                </c:pt>
                <c:pt idx="703">
                  <c:v>59.210833333333319</c:v>
                </c:pt>
                <c:pt idx="704">
                  <c:v>54.747083333333336</c:v>
                </c:pt>
                <c:pt idx="705">
                  <c:v>42.577916666666674</c:v>
                </c:pt>
                <c:pt idx="706">
                  <c:v>11.865416666666663</c:v>
                </c:pt>
                <c:pt idx="707">
                  <c:v>8.9170833333333324</c:v>
                </c:pt>
                <c:pt idx="708">
                  <c:v>36.161249999999995</c:v>
                </c:pt>
                <c:pt idx="709">
                  <c:v>55.37</c:v>
                </c:pt>
                <c:pt idx="710">
                  <c:v>69.914166666666674</c:v>
                </c:pt>
                <c:pt idx="711">
                  <c:v>66.242916666666673</c:v>
                </c:pt>
                <c:pt idx="712">
                  <c:v>71.159166666666678</c:v>
                </c:pt>
                <c:pt idx="713">
                  <c:v>54.406666666666659</c:v>
                </c:pt>
                <c:pt idx="714">
                  <c:v>49.709166666666654</c:v>
                </c:pt>
                <c:pt idx="715">
                  <c:v>69.390833333333333</c:v>
                </c:pt>
                <c:pt idx="716">
                  <c:v>59.444999999999993</c:v>
                </c:pt>
                <c:pt idx="717">
                  <c:v>56.441666666666684</c:v>
                </c:pt>
                <c:pt idx="718">
                  <c:v>56.688749999999992</c:v>
                </c:pt>
                <c:pt idx="719">
                  <c:v>49.62416666666666</c:v>
                </c:pt>
                <c:pt idx="720">
                  <c:v>36.620833333333344</c:v>
                </c:pt>
                <c:pt idx="721">
                  <c:v>42.667499999999997</c:v>
                </c:pt>
                <c:pt idx="722">
                  <c:v>46.830833333333338</c:v>
                </c:pt>
                <c:pt idx="723">
                  <c:v>19.0075</c:v>
                </c:pt>
                <c:pt idx="724">
                  <c:v>47.402500000000003</c:v>
                </c:pt>
                <c:pt idx="725">
                  <c:v>60.015000000000008</c:v>
                </c:pt>
                <c:pt idx="726">
                  <c:v>59.79666666666666</c:v>
                </c:pt>
                <c:pt idx="727">
                  <c:v>47.336666666666666</c:v>
                </c:pt>
                <c:pt idx="728">
                  <c:v>33.533333333333339</c:v>
                </c:pt>
                <c:pt idx="729">
                  <c:v>54.685833333333328</c:v>
                </c:pt>
                <c:pt idx="730">
                  <c:v>14.913333333333339</c:v>
                </c:pt>
                <c:pt idx="731">
                  <c:v>123.81999999999998</c:v>
                </c:pt>
                <c:pt idx="732">
                  <c:v>145.95458333333337</c:v>
                </c:pt>
                <c:pt idx="733">
                  <c:v>58.94166666666667</c:v>
                </c:pt>
                <c:pt idx="734">
                  <c:v>107.45541666666672</c:v>
                </c:pt>
                <c:pt idx="735">
                  <c:v>117.47333333333334</c:v>
                </c:pt>
                <c:pt idx="736">
                  <c:v>88.808749999999989</c:v>
                </c:pt>
                <c:pt idx="737">
                  <c:v>68.941666666666663</c:v>
                </c:pt>
                <c:pt idx="738">
                  <c:v>129.29166666666669</c:v>
                </c:pt>
                <c:pt idx="739">
                  <c:v>123.13041666666669</c:v>
                </c:pt>
                <c:pt idx="740">
                  <c:v>84.080833333333331</c:v>
                </c:pt>
                <c:pt idx="741">
                  <c:v>70.742916666666673</c:v>
                </c:pt>
                <c:pt idx="742">
                  <c:v>66.642083333333332</c:v>
                </c:pt>
                <c:pt idx="743">
                  <c:v>29.344166666666666</c:v>
                </c:pt>
                <c:pt idx="744">
                  <c:v>9.2591666666666672</c:v>
                </c:pt>
                <c:pt idx="745">
                  <c:v>128.74875000000003</c:v>
                </c:pt>
                <c:pt idx="746">
                  <c:v>133.56666666666666</c:v>
                </c:pt>
                <c:pt idx="747">
                  <c:v>143.75624999999997</c:v>
                </c:pt>
                <c:pt idx="748">
                  <c:v>148.21374999999995</c:v>
                </c:pt>
                <c:pt idx="749">
                  <c:v>180.65958333333336</c:v>
                </c:pt>
                <c:pt idx="750">
                  <c:v>144.39166666666665</c:v>
                </c:pt>
                <c:pt idx="751">
                  <c:v>151.15083333333334</c:v>
                </c:pt>
                <c:pt idx="752">
                  <c:v>202.73416666666662</c:v>
                </c:pt>
                <c:pt idx="753">
                  <c:v>202.69291666666666</c:v>
                </c:pt>
                <c:pt idx="754">
                  <c:v>181.74208333333334</c:v>
                </c:pt>
                <c:pt idx="755">
                  <c:v>167.66874999999996</c:v>
                </c:pt>
                <c:pt idx="756">
                  <c:v>168.76125000000002</c:v>
                </c:pt>
                <c:pt idx="757">
                  <c:v>144.69874999999999</c:v>
                </c:pt>
                <c:pt idx="758">
                  <c:v>123.58791666666666</c:v>
                </c:pt>
                <c:pt idx="759">
                  <c:v>74.21374999999999</c:v>
                </c:pt>
                <c:pt idx="760">
                  <c:v>117.3216666666667</c:v>
                </c:pt>
                <c:pt idx="761">
                  <c:v>93.077916666666667</c:v>
                </c:pt>
                <c:pt idx="762">
                  <c:v>136.14666666666668</c:v>
                </c:pt>
                <c:pt idx="763">
                  <c:v>102.61083333333335</c:v>
                </c:pt>
                <c:pt idx="764">
                  <c:v>146.01125000000005</c:v>
                </c:pt>
                <c:pt idx="765">
                  <c:v>131.36666666666665</c:v>
                </c:pt>
                <c:pt idx="766">
                  <c:v>172.96333333333334</c:v>
                </c:pt>
                <c:pt idx="767">
                  <c:v>172.92249999999999</c:v>
                </c:pt>
                <c:pt idx="768">
                  <c:v>152.1045833333333</c:v>
                </c:pt>
                <c:pt idx="769">
                  <c:v>132.54458333333335</c:v>
                </c:pt>
                <c:pt idx="770">
                  <c:v>125.92291666666667</c:v>
                </c:pt>
                <c:pt idx="771">
                  <c:v>106.26791666666668</c:v>
                </c:pt>
                <c:pt idx="772">
                  <c:v>136.30875</c:v>
                </c:pt>
                <c:pt idx="773">
                  <c:v>163.49625</c:v>
                </c:pt>
                <c:pt idx="774">
                  <c:v>154.49291666666667</c:v>
                </c:pt>
                <c:pt idx="775">
                  <c:v>143.52124999999995</c:v>
                </c:pt>
                <c:pt idx="776">
                  <c:v>136.73125000000002</c:v>
                </c:pt>
                <c:pt idx="777">
                  <c:v>81.149166666666659</c:v>
                </c:pt>
                <c:pt idx="778">
                  <c:v>94.672916666666666</c:v>
                </c:pt>
                <c:pt idx="779">
                  <c:v>114.05416666666667</c:v>
                </c:pt>
                <c:pt idx="780">
                  <c:v>61.417083333333323</c:v>
                </c:pt>
                <c:pt idx="781">
                  <c:v>122.44583333333334</c:v>
                </c:pt>
                <c:pt idx="782">
                  <c:v>148.64791666666673</c:v>
                </c:pt>
                <c:pt idx="783">
                  <c:v>146.12041666666667</c:v>
                </c:pt>
                <c:pt idx="784">
                  <c:v>118.30250000000001</c:v>
                </c:pt>
                <c:pt idx="785">
                  <c:v>89.290416666666701</c:v>
                </c:pt>
                <c:pt idx="786">
                  <c:v>109.82208333333331</c:v>
                </c:pt>
                <c:pt idx="787">
                  <c:v>152.27458333333331</c:v>
                </c:pt>
                <c:pt idx="788">
                  <c:v>148.04499999999999</c:v>
                </c:pt>
                <c:pt idx="789">
                  <c:v>142.96833333333333</c:v>
                </c:pt>
                <c:pt idx="790">
                  <c:v>144.3066666666667</c:v>
                </c:pt>
                <c:pt idx="791">
                  <c:v>136.76375000000002</c:v>
                </c:pt>
                <c:pt idx="792">
                  <c:v>107.47166666666665</c:v>
                </c:pt>
                <c:pt idx="793">
                  <c:v>121.78666666666668</c:v>
                </c:pt>
                <c:pt idx="794">
                  <c:v>150.67291666666668</c:v>
                </c:pt>
                <c:pt idx="795">
                  <c:v>106.86791666666666</c:v>
                </c:pt>
                <c:pt idx="796">
                  <c:v>138.89041666666668</c:v>
                </c:pt>
                <c:pt idx="797">
                  <c:v>127.19916666666666</c:v>
                </c:pt>
                <c:pt idx="798">
                  <c:v>115.61375</c:v>
                </c:pt>
                <c:pt idx="799">
                  <c:v>98.605000000000004</c:v>
                </c:pt>
                <c:pt idx="800">
                  <c:v>95.532499999999985</c:v>
                </c:pt>
                <c:pt idx="801">
                  <c:v>37.139166666666675</c:v>
                </c:pt>
                <c:pt idx="802">
                  <c:v>71.479583333333323</c:v>
                </c:pt>
                <c:pt idx="803">
                  <c:v>127.72458333333331</c:v>
                </c:pt>
                <c:pt idx="804">
                  <c:v>105.57458333333334</c:v>
                </c:pt>
                <c:pt idx="805">
                  <c:v>92.347499999999968</c:v>
                </c:pt>
                <c:pt idx="806">
                  <c:v>109.33749999999999</c:v>
                </c:pt>
                <c:pt idx="807">
                  <c:v>111.99208333333335</c:v>
                </c:pt>
                <c:pt idx="808">
                  <c:v>125.17291666666667</c:v>
                </c:pt>
                <c:pt idx="809">
                  <c:v>115.05250000000001</c:v>
                </c:pt>
                <c:pt idx="810">
                  <c:v>80.177916666666661</c:v>
                </c:pt>
                <c:pt idx="811">
                  <c:v>74.709583333333342</c:v>
                </c:pt>
                <c:pt idx="812">
                  <c:v>53.115833333333342</c:v>
                </c:pt>
                <c:pt idx="813">
                  <c:v>14.666250000000005</c:v>
                </c:pt>
                <c:pt idx="814">
                  <c:v>70.623913043478254</c:v>
                </c:pt>
                <c:pt idx="815">
                  <c:v>92.318333333333328</c:v>
                </c:pt>
                <c:pt idx="816">
                  <c:v>113.15125000000002</c:v>
                </c:pt>
                <c:pt idx="817">
                  <c:v>116.53916666666667</c:v>
                </c:pt>
                <c:pt idx="818">
                  <c:v>81.44083333333333</c:v>
                </c:pt>
                <c:pt idx="819">
                  <c:v>97.593750000000014</c:v>
                </c:pt>
                <c:pt idx="820">
                  <c:v>55.765833333333326</c:v>
                </c:pt>
                <c:pt idx="821">
                  <c:v>67.330833333333331</c:v>
                </c:pt>
                <c:pt idx="822">
                  <c:v>114.79791666666667</c:v>
                </c:pt>
                <c:pt idx="823">
                  <c:v>132.06958333333333</c:v>
                </c:pt>
                <c:pt idx="824">
                  <c:v>140.97166666666666</c:v>
                </c:pt>
                <c:pt idx="825">
                  <c:v>124.28458333333332</c:v>
                </c:pt>
                <c:pt idx="826">
                  <c:v>108.63041666666668</c:v>
                </c:pt>
                <c:pt idx="827">
                  <c:v>116.89416666666665</c:v>
                </c:pt>
                <c:pt idx="828">
                  <c:v>105.0475</c:v>
                </c:pt>
                <c:pt idx="829">
                  <c:v>39.974583333333335</c:v>
                </c:pt>
                <c:pt idx="830">
                  <c:v>59.985416666666659</c:v>
                </c:pt>
                <c:pt idx="831">
                  <c:v>107.6925</c:v>
                </c:pt>
                <c:pt idx="832">
                  <c:v>108.41375000000001</c:v>
                </c:pt>
                <c:pt idx="833">
                  <c:v>128.79583333333335</c:v>
                </c:pt>
                <c:pt idx="834">
                  <c:v>106.79708333333333</c:v>
                </c:pt>
                <c:pt idx="835">
                  <c:v>110.09958333333334</c:v>
                </c:pt>
                <c:pt idx="836">
                  <c:v>124.23583333333335</c:v>
                </c:pt>
                <c:pt idx="837">
                  <c:v>108.22541666666667</c:v>
                </c:pt>
                <c:pt idx="838">
                  <c:v>87.515833333333333</c:v>
                </c:pt>
                <c:pt idx="839">
                  <c:v>111.70625000000001</c:v>
                </c:pt>
                <c:pt idx="840">
                  <c:v>89.475000000000009</c:v>
                </c:pt>
                <c:pt idx="841">
                  <c:v>84.467083333333335</c:v>
                </c:pt>
                <c:pt idx="842">
                  <c:v>85.80083333333333</c:v>
                </c:pt>
                <c:pt idx="843">
                  <c:v>104.60333333333334</c:v>
                </c:pt>
                <c:pt idx="844">
                  <c:v>100.99624999999999</c:v>
                </c:pt>
                <c:pt idx="845">
                  <c:v>110.72083333333335</c:v>
                </c:pt>
                <c:pt idx="846">
                  <c:v>112.08583333333333</c:v>
                </c:pt>
                <c:pt idx="847">
                  <c:v>106.00333333333332</c:v>
                </c:pt>
                <c:pt idx="848">
                  <c:v>100.64625000000001</c:v>
                </c:pt>
                <c:pt idx="849">
                  <c:v>68.286666666666648</c:v>
                </c:pt>
                <c:pt idx="850">
                  <c:v>87.549166666666679</c:v>
                </c:pt>
                <c:pt idx="851">
                  <c:v>106.10125000000001</c:v>
                </c:pt>
                <c:pt idx="852">
                  <c:v>107.79875</c:v>
                </c:pt>
                <c:pt idx="853">
                  <c:v>97.499583333333348</c:v>
                </c:pt>
                <c:pt idx="854">
                  <c:v>96.050000000000011</c:v>
                </c:pt>
                <c:pt idx="855">
                  <c:v>89.524583333333339</c:v>
                </c:pt>
                <c:pt idx="856">
                  <c:v>66.982500000000016</c:v>
                </c:pt>
                <c:pt idx="857">
                  <c:v>96.372500000000002</c:v>
                </c:pt>
                <c:pt idx="858">
                  <c:v>94.637916666666683</c:v>
                </c:pt>
                <c:pt idx="859">
                  <c:v>107.89375000000001</c:v>
                </c:pt>
                <c:pt idx="860">
                  <c:v>116.13541666666669</c:v>
                </c:pt>
                <c:pt idx="861">
                  <c:v>100.50625000000002</c:v>
                </c:pt>
                <c:pt idx="862">
                  <c:v>78.353333333333339</c:v>
                </c:pt>
                <c:pt idx="863">
                  <c:v>72.002499999999998</c:v>
                </c:pt>
                <c:pt idx="864">
                  <c:v>113.84041666666667</c:v>
                </c:pt>
                <c:pt idx="865">
                  <c:v>79.295416666666668</c:v>
                </c:pt>
                <c:pt idx="866">
                  <c:v>78.583750000000023</c:v>
                </c:pt>
                <c:pt idx="867">
                  <c:v>86.734166666666667</c:v>
                </c:pt>
                <c:pt idx="868">
                  <c:v>87.28458333333333</c:v>
                </c:pt>
                <c:pt idx="869">
                  <c:v>46.809166666666677</c:v>
                </c:pt>
                <c:pt idx="870">
                  <c:v>28.464166666666667</c:v>
                </c:pt>
                <c:pt idx="871">
                  <c:v>97.331250000000011</c:v>
                </c:pt>
                <c:pt idx="872">
                  <c:v>72.785416666666663</c:v>
                </c:pt>
                <c:pt idx="873">
                  <c:v>102.27333333333333</c:v>
                </c:pt>
                <c:pt idx="874">
                  <c:v>81.650000000000006</c:v>
                </c:pt>
                <c:pt idx="875">
                  <c:v>69.984166666666667</c:v>
                </c:pt>
                <c:pt idx="876">
                  <c:v>62.671666666666674</c:v>
                </c:pt>
                <c:pt idx="877">
                  <c:v>26.553333333333338</c:v>
                </c:pt>
                <c:pt idx="878">
                  <c:v>21.452499999999997</c:v>
                </c:pt>
                <c:pt idx="879">
                  <c:v>87.738749999999996</c:v>
                </c:pt>
                <c:pt idx="880">
                  <c:v>72.31750000000001</c:v>
                </c:pt>
                <c:pt idx="881">
                  <c:v>72.900416666666658</c:v>
                </c:pt>
                <c:pt idx="882">
                  <c:v>81.016666666666666</c:v>
                </c:pt>
                <c:pt idx="883">
                  <c:v>56.367083333333333</c:v>
                </c:pt>
                <c:pt idx="884">
                  <c:v>49.672916666666673</c:v>
                </c:pt>
                <c:pt idx="885">
                  <c:v>90.757083333333341</c:v>
                </c:pt>
                <c:pt idx="886">
                  <c:v>98.139166666666654</c:v>
                </c:pt>
                <c:pt idx="887">
                  <c:v>100.93083333333334</c:v>
                </c:pt>
                <c:pt idx="888">
                  <c:v>84.517916666666679</c:v>
                </c:pt>
                <c:pt idx="889">
                  <c:v>86.683750000000018</c:v>
                </c:pt>
                <c:pt idx="890">
                  <c:v>55.127499999999991</c:v>
                </c:pt>
                <c:pt idx="891">
                  <c:v>40.746666666666663</c:v>
                </c:pt>
                <c:pt idx="892">
                  <c:v>96.398750000000007</c:v>
                </c:pt>
                <c:pt idx="893">
                  <c:v>90.027083333333337</c:v>
                </c:pt>
                <c:pt idx="894">
                  <c:v>102.93958333333336</c:v>
                </c:pt>
                <c:pt idx="895">
                  <c:v>120.30833333333332</c:v>
                </c:pt>
                <c:pt idx="896">
                  <c:v>127.52000000000002</c:v>
                </c:pt>
                <c:pt idx="897">
                  <c:v>104.53833333333334</c:v>
                </c:pt>
                <c:pt idx="898">
                  <c:v>93.024583333333325</c:v>
                </c:pt>
                <c:pt idx="899">
                  <c:v>116.97291666666665</c:v>
                </c:pt>
                <c:pt idx="900">
                  <c:v>121.14749999999998</c:v>
                </c:pt>
                <c:pt idx="901">
                  <c:v>123.46916666666668</c:v>
                </c:pt>
                <c:pt idx="902">
                  <c:v>125.71124999999996</c:v>
                </c:pt>
                <c:pt idx="903">
                  <c:v>106.40625000000001</c:v>
                </c:pt>
                <c:pt idx="904">
                  <c:v>81.817083333333315</c:v>
                </c:pt>
                <c:pt idx="905">
                  <c:v>75.483333333333334</c:v>
                </c:pt>
                <c:pt idx="906">
                  <c:v>97.489583333333329</c:v>
                </c:pt>
                <c:pt idx="907">
                  <c:v>101.94625000000001</c:v>
                </c:pt>
                <c:pt idx="908">
                  <c:v>112.51583333333333</c:v>
                </c:pt>
                <c:pt idx="909">
                  <c:v>118.08083333333332</c:v>
                </c:pt>
                <c:pt idx="910">
                  <c:v>110.02666666666666</c:v>
                </c:pt>
                <c:pt idx="911">
                  <c:v>66.41458333333334</c:v>
                </c:pt>
                <c:pt idx="912">
                  <c:v>-53.870833333333316</c:v>
                </c:pt>
                <c:pt idx="913">
                  <c:v>53.220833333333331</c:v>
                </c:pt>
                <c:pt idx="914">
                  <c:v>85.123333333333321</c:v>
                </c:pt>
                <c:pt idx="915">
                  <c:v>69.799166666666665</c:v>
                </c:pt>
                <c:pt idx="916">
                  <c:v>107.20458333333335</c:v>
                </c:pt>
                <c:pt idx="917">
                  <c:v>102.96791666666667</c:v>
                </c:pt>
                <c:pt idx="918">
                  <c:v>82.191666666666663</c:v>
                </c:pt>
                <c:pt idx="919">
                  <c:v>89.332083333333344</c:v>
                </c:pt>
                <c:pt idx="920">
                  <c:v>113.98625</c:v>
                </c:pt>
                <c:pt idx="921">
                  <c:v>105.95791666666663</c:v>
                </c:pt>
                <c:pt idx="922">
                  <c:v>87.507499999999993</c:v>
                </c:pt>
                <c:pt idx="923">
                  <c:v>97.710000000000022</c:v>
                </c:pt>
                <c:pt idx="924">
                  <c:v>96.967083333333335</c:v>
                </c:pt>
                <c:pt idx="925">
                  <c:v>33.323750000000011</c:v>
                </c:pt>
                <c:pt idx="926">
                  <c:v>14.52958333333333</c:v>
                </c:pt>
                <c:pt idx="927">
                  <c:v>81.918750000000003</c:v>
                </c:pt>
                <c:pt idx="928">
                  <c:v>106.46458333333335</c:v>
                </c:pt>
                <c:pt idx="929">
                  <c:v>97.317083333333343</c:v>
                </c:pt>
                <c:pt idx="930">
                  <c:v>96.508750000000006</c:v>
                </c:pt>
                <c:pt idx="931">
                  <c:v>104.40000000000002</c:v>
                </c:pt>
                <c:pt idx="932">
                  <c:v>76.734166666666667</c:v>
                </c:pt>
                <c:pt idx="933">
                  <c:v>30.923333333333332</c:v>
                </c:pt>
                <c:pt idx="934">
                  <c:v>90.529999999999973</c:v>
                </c:pt>
                <c:pt idx="935">
                  <c:v>104.15458333333335</c:v>
                </c:pt>
                <c:pt idx="936">
                  <c:v>95.244583333333352</c:v>
                </c:pt>
                <c:pt idx="937">
                  <c:v>93.911249999999995</c:v>
                </c:pt>
                <c:pt idx="938">
                  <c:v>95.919166666666669</c:v>
                </c:pt>
                <c:pt idx="939">
                  <c:v>76.675416666666663</c:v>
                </c:pt>
                <c:pt idx="940">
                  <c:v>31.754583333333333</c:v>
                </c:pt>
                <c:pt idx="941">
                  <c:v>70.969166666666666</c:v>
                </c:pt>
                <c:pt idx="942">
                  <c:v>79.427916666666675</c:v>
                </c:pt>
                <c:pt idx="943">
                  <c:v>68.287916666666661</c:v>
                </c:pt>
                <c:pt idx="944">
                  <c:v>45.414583333333333</c:v>
                </c:pt>
                <c:pt idx="945">
                  <c:v>98.594583333333347</c:v>
                </c:pt>
                <c:pt idx="946">
                  <c:v>90.307083333333324</c:v>
                </c:pt>
                <c:pt idx="947">
                  <c:v>57.909583333333323</c:v>
                </c:pt>
                <c:pt idx="948">
                  <c:v>19.435416666666661</c:v>
                </c:pt>
                <c:pt idx="949">
                  <c:v>12.057083333333336</c:v>
                </c:pt>
                <c:pt idx="950">
                  <c:v>88.34875000000001</c:v>
                </c:pt>
                <c:pt idx="951">
                  <c:v>102.1725</c:v>
                </c:pt>
                <c:pt idx="952">
                  <c:v>100.44416666666665</c:v>
                </c:pt>
                <c:pt idx="953">
                  <c:v>80.135000000000005</c:v>
                </c:pt>
                <c:pt idx="954">
                  <c:v>65.208749999999995</c:v>
                </c:pt>
                <c:pt idx="955">
                  <c:v>103.37166666666667</c:v>
                </c:pt>
                <c:pt idx="956">
                  <c:v>93.556666666666672</c:v>
                </c:pt>
                <c:pt idx="957">
                  <c:v>110.80708333333332</c:v>
                </c:pt>
                <c:pt idx="958">
                  <c:v>111.3625</c:v>
                </c:pt>
                <c:pt idx="959">
                  <c:v>108.99000000000001</c:v>
                </c:pt>
                <c:pt idx="960">
                  <c:v>84.792083333333352</c:v>
                </c:pt>
                <c:pt idx="961">
                  <c:v>90.122083333333322</c:v>
                </c:pt>
                <c:pt idx="962">
                  <c:v>121.10708333333332</c:v>
                </c:pt>
                <c:pt idx="963">
                  <c:v>123.15208333333335</c:v>
                </c:pt>
                <c:pt idx="964">
                  <c:v>146.55249999999998</c:v>
                </c:pt>
                <c:pt idx="965">
                  <c:v>146.94583333333335</c:v>
                </c:pt>
                <c:pt idx="966">
                  <c:v>116.26083333333332</c:v>
                </c:pt>
                <c:pt idx="967">
                  <c:v>96.515416666666667</c:v>
                </c:pt>
                <c:pt idx="968">
                  <c:v>101.89916666666664</c:v>
                </c:pt>
                <c:pt idx="969">
                  <c:v>118.6720833333333</c:v>
                </c:pt>
                <c:pt idx="970">
                  <c:v>122.90375</c:v>
                </c:pt>
                <c:pt idx="971">
                  <c:v>114.92749999999999</c:v>
                </c:pt>
                <c:pt idx="972">
                  <c:v>104.29666666666667</c:v>
                </c:pt>
                <c:pt idx="973">
                  <c:v>108.57166666666666</c:v>
                </c:pt>
                <c:pt idx="974">
                  <c:v>95.133333333333326</c:v>
                </c:pt>
                <c:pt idx="975">
                  <c:v>82.647500000000008</c:v>
                </c:pt>
                <c:pt idx="976">
                  <c:v>108.44541666666665</c:v>
                </c:pt>
                <c:pt idx="977">
                  <c:v>103.54208333333334</c:v>
                </c:pt>
                <c:pt idx="978">
                  <c:v>105.61791666666669</c:v>
                </c:pt>
                <c:pt idx="979">
                  <c:v>100.985833333333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FCF-4726-B5FA-D7D8F85AE32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CO2 FEUAc1 [€/t]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multiLvlStrRef>
              <c:f>Tabelle1!$A$2:$A$1018</c:f>
              <c:multiLvlStrCache>
                <c:ptCount val="980"/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3</c:v>
                  </c:pt>
                  <c:pt idx="13">
                    <c:v>14</c:v>
                  </c:pt>
                  <c:pt idx="14">
                    <c:v>15</c:v>
                  </c:pt>
                  <c:pt idx="15">
                    <c:v>16</c:v>
                  </c:pt>
                  <c:pt idx="16">
                    <c:v>17</c:v>
                  </c:pt>
                  <c:pt idx="17">
                    <c:v>18</c:v>
                  </c:pt>
                  <c:pt idx="18">
                    <c:v>19</c:v>
                  </c:pt>
                  <c:pt idx="19">
                    <c:v>20</c:v>
                  </c:pt>
                  <c:pt idx="20">
                    <c:v>21</c:v>
                  </c:pt>
                  <c:pt idx="21">
                    <c:v>22</c:v>
                  </c:pt>
                  <c:pt idx="22">
                    <c:v>23</c:v>
                  </c:pt>
                  <c:pt idx="23">
                    <c:v>24</c:v>
                  </c:pt>
                  <c:pt idx="24">
                    <c:v>25</c:v>
                  </c:pt>
                  <c:pt idx="25">
                    <c:v>26</c:v>
                  </c:pt>
                  <c:pt idx="26">
                    <c:v>27</c:v>
                  </c:pt>
                  <c:pt idx="27">
                    <c:v>28</c:v>
                  </c:pt>
                  <c:pt idx="28">
                    <c:v>29</c:v>
                  </c:pt>
                  <c:pt idx="29">
                    <c:v>30</c:v>
                  </c:pt>
                  <c:pt idx="30">
                    <c:v>31</c:v>
                  </c:pt>
                  <c:pt idx="31">
                    <c:v>1</c:v>
                  </c:pt>
                  <c:pt idx="32">
                    <c:v>2</c:v>
                  </c:pt>
                  <c:pt idx="33">
                    <c:v>3</c:v>
                  </c:pt>
                  <c:pt idx="34">
                    <c:v>4</c:v>
                  </c:pt>
                  <c:pt idx="35">
                    <c:v>5</c:v>
                  </c:pt>
                  <c:pt idx="36">
                    <c:v>6</c:v>
                  </c:pt>
                  <c:pt idx="37">
                    <c:v>7</c:v>
                  </c:pt>
                  <c:pt idx="38">
                    <c:v>8</c:v>
                  </c:pt>
                  <c:pt idx="39">
                    <c:v>9</c:v>
                  </c:pt>
                  <c:pt idx="40">
                    <c:v>10</c:v>
                  </c:pt>
                  <c:pt idx="41">
                    <c:v>11</c:v>
                  </c:pt>
                  <c:pt idx="42">
                    <c:v>12</c:v>
                  </c:pt>
                  <c:pt idx="43">
                    <c:v>13</c:v>
                  </c:pt>
                  <c:pt idx="44">
                    <c:v>14</c:v>
                  </c:pt>
                  <c:pt idx="45">
                    <c:v>15</c:v>
                  </c:pt>
                  <c:pt idx="46">
                    <c:v>16</c:v>
                  </c:pt>
                  <c:pt idx="47">
                    <c:v>17</c:v>
                  </c:pt>
                  <c:pt idx="48">
                    <c:v>18</c:v>
                  </c:pt>
                  <c:pt idx="49">
                    <c:v>19</c:v>
                  </c:pt>
                  <c:pt idx="50">
                    <c:v>20</c:v>
                  </c:pt>
                  <c:pt idx="51">
                    <c:v>21</c:v>
                  </c:pt>
                  <c:pt idx="52">
                    <c:v>22</c:v>
                  </c:pt>
                  <c:pt idx="53">
                    <c:v>23</c:v>
                  </c:pt>
                  <c:pt idx="54">
                    <c:v>24</c:v>
                  </c:pt>
                  <c:pt idx="55">
                    <c:v>25</c:v>
                  </c:pt>
                  <c:pt idx="56">
                    <c:v>26</c:v>
                  </c:pt>
                  <c:pt idx="57">
                    <c:v>27</c:v>
                  </c:pt>
                  <c:pt idx="58">
                    <c:v>28</c:v>
                  </c:pt>
                  <c:pt idx="59">
                    <c:v>1</c:v>
                  </c:pt>
                  <c:pt idx="60">
                    <c:v>2</c:v>
                  </c:pt>
                  <c:pt idx="61">
                    <c:v>3</c:v>
                  </c:pt>
                  <c:pt idx="62">
                    <c:v>4</c:v>
                  </c:pt>
                  <c:pt idx="63">
                    <c:v>5</c:v>
                  </c:pt>
                  <c:pt idx="64">
                    <c:v>6</c:v>
                  </c:pt>
                  <c:pt idx="65">
                    <c:v>7</c:v>
                  </c:pt>
                  <c:pt idx="66">
                    <c:v>8</c:v>
                  </c:pt>
                  <c:pt idx="67">
                    <c:v>9</c:v>
                  </c:pt>
                  <c:pt idx="68">
                    <c:v>10</c:v>
                  </c:pt>
                  <c:pt idx="69">
                    <c:v>11</c:v>
                  </c:pt>
                  <c:pt idx="70">
                    <c:v>12</c:v>
                  </c:pt>
                  <c:pt idx="71">
                    <c:v>13</c:v>
                  </c:pt>
                  <c:pt idx="72">
                    <c:v>14</c:v>
                  </c:pt>
                  <c:pt idx="73">
                    <c:v>15</c:v>
                  </c:pt>
                  <c:pt idx="74">
                    <c:v>16</c:v>
                  </c:pt>
                  <c:pt idx="75">
                    <c:v>17</c:v>
                  </c:pt>
                  <c:pt idx="76">
                    <c:v>18</c:v>
                  </c:pt>
                  <c:pt idx="77">
                    <c:v>19</c:v>
                  </c:pt>
                  <c:pt idx="78">
                    <c:v>20</c:v>
                  </c:pt>
                  <c:pt idx="79">
                    <c:v>21</c:v>
                  </c:pt>
                  <c:pt idx="80">
                    <c:v>22</c:v>
                  </c:pt>
                  <c:pt idx="81">
                    <c:v>23</c:v>
                  </c:pt>
                  <c:pt idx="82">
                    <c:v>24</c:v>
                  </c:pt>
                  <c:pt idx="83">
                    <c:v>25</c:v>
                  </c:pt>
                  <c:pt idx="84">
                    <c:v>26</c:v>
                  </c:pt>
                  <c:pt idx="85">
                    <c:v>27</c:v>
                  </c:pt>
                  <c:pt idx="86">
                    <c:v>28</c:v>
                  </c:pt>
                  <c:pt idx="87">
                    <c:v>29</c:v>
                  </c:pt>
                  <c:pt idx="88">
                    <c:v>30</c:v>
                  </c:pt>
                  <c:pt idx="89">
                    <c:v>31</c:v>
                  </c:pt>
                  <c:pt idx="90">
                    <c:v>1</c:v>
                  </c:pt>
                  <c:pt idx="91">
                    <c:v>2</c:v>
                  </c:pt>
                  <c:pt idx="92">
                    <c:v>3</c:v>
                  </c:pt>
                  <c:pt idx="93">
                    <c:v>4</c:v>
                  </c:pt>
                  <c:pt idx="94">
                    <c:v>5</c:v>
                  </c:pt>
                  <c:pt idx="95">
                    <c:v>6</c:v>
                  </c:pt>
                  <c:pt idx="96">
                    <c:v>7</c:v>
                  </c:pt>
                  <c:pt idx="97">
                    <c:v>8</c:v>
                  </c:pt>
                  <c:pt idx="98">
                    <c:v>9</c:v>
                  </c:pt>
                  <c:pt idx="99">
                    <c:v>10</c:v>
                  </c:pt>
                  <c:pt idx="100">
                    <c:v>11</c:v>
                  </c:pt>
                  <c:pt idx="101">
                    <c:v>12</c:v>
                  </c:pt>
                  <c:pt idx="102">
                    <c:v>13</c:v>
                  </c:pt>
                  <c:pt idx="103">
                    <c:v>14</c:v>
                  </c:pt>
                  <c:pt idx="104">
                    <c:v>15</c:v>
                  </c:pt>
                  <c:pt idx="105">
                    <c:v>16</c:v>
                  </c:pt>
                  <c:pt idx="106">
                    <c:v>17</c:v>
                  </c:pt>
                  <c:pt idx="107">
                    <c:v>18</c:v>
                  </c:pt>
                  <c:pt idx="108">
                    <c:v>19</c:v>
                  </c:pt>
                  <c:pt idx="109">
                    <c:v>20</c:v>
                  </c:pt>
                  <c:pt idx="110">
                    <c:v>21</c:v>
                  </c:pt>
                  <c:pt idx="111">
                    <c:v>22</c:v>
                  </c:pt>
                  <c:pt idx="112">
                    <c:v>23</c:v>
                  </c:pt>
                  <c:pt idx="113">
                    <c:v>24</c:v>
                  </c:pt>
                  <c:pt idx="114">
                    <c:v>25</c:v>
                  </c:pt>
                  <c:pt idx="115">
                    <c:v>26</c:v>
                  </c:pt>
                  <c:pt idx="116">
                    <c:v>27</c:v>
                  </c:pt>
                  <c:pt idx="117">
                    <c:v>28</c:v>
                  </c:pt>
                  <c:pt idx="118">
                    <c:v>29</c:v>
                  </c:pt>
                  <c:pt idx="119">
                    <c:v>30</c:v>
                  </c:pt>
                  <c:pt idx="120">
                    <c:v>1</c:v>
                  </c:pt>
                  <c:pt idx="121">
                    <c:v>2</c:v>
                  </c:pt>
                  <c:pt idx="122">
                    <c:v>3</c:v>
                  </c:pt>
                  <c:pt idx="123">
                    <c:v>4</c:v>
                  </c:pt>
                  <c:pt idx="124">
                    <c:v>5</c:v>
                  </c:pt>
                  <c:pt idx="125">
                    <c:v>6</c:v>
                  </c:pt>
                  <c:pt idx="126">
                    <c:v>7</c:v>
                  </c:pt>
                  <c:pt idx="127">
                    <c:v>8</c:v>
                  </c:pt>
                  <c:pt idx="128">
                    <c:v>9</c:v>
                  </c:pt>
                  <c:pt idx="129">
                    <c:v>10</c:v>
                  </c:pt>
                  <c:pt idx="130">
                    <c:v>11</c:v>
                  </c:pt>
                  <c:pt idx="131">
                    <c:v>12</c:v>
                  </c:pt>
                  <c:pt idx="132">
                    <c:v>13</c:v>
                  </c:pt>
                  <c:pt idx="133">
                    <c:v>14</c:v>
                  </c:pt>
                  <c:pt idx="134">
                    <c:v>15</c:v>
                  </c:pt>
                  <c:pt idx="135">
                    <c:v>16</c:v>
                  </c:pt>
                  <c:pt idx="136">
                    <c:v>17</c:v>
                  </c:pt>
                  <c:pt idx="137">
                    <c:v>18</c:v>
                  </c:pt>
                  <c:pt idx="138">
                    <c:v>19</c:v>
                  </c:pt>
                  <c:pt idx="139">
                    <c:v>20</c:v>
                  </c:pt>
                  <c:pt idx="140">
                    <c:v>21</c:v>
                  </c:pt>
                  <c:pt idx="141">
                    <c:v>22</c:v>
                  </c:pt>
                  <c:pt idx="142">
                    <c:v>23</c:v>
                  </c:pt>
                  <c:pt idx="143">
                    <c:v>24</c:v>
                  </c:pt>
                  <c:pt idx="144">
                    <c:v>25</c:v>
                  </c:pt>
                  <c:pt idx="145">
                    <c:v>26</c:v>
                  </c:pt>
                  <c:pt idx="146">
                    <c:v>27</c:v>
                  </c:pt>
                  <c:pt idx="147">
                    <c:v>28</c:v>
                  </c:pt>
                  <c:pt idx="148">
                    <c:v>29</c:v>
                  </c:pt>
                  <c:pt idx="149">
                    <c:v>30</c:v>
                  </c:pt>
                  <c:pt idx="150">
                    <c:v>31</c:v>
                  </c:pt>
                  <c:pt idx="151">
                    <c:v>1</c:v>
                  </c:pt>
                  <c:pt idx="152">
                    <c:v>2</c:v>
                  </c:pt>
                  <c:pt idx="153">
                    <c:v>3</c:v>
                  </c:pt>
                  <c:pt idx="154">
                    <c:v>4</c:v>
                  </c:pt>
                  <c:pt idx="155">
                    <c:v>5</c:v>
                  </c:pt>
                  <c:pt idx="156">
                    <c:v>6</c:v>
                  </c:pt>
                  <c:pt idx="157">
                    <c:v>7</c:v>
                  </c:pt>
                  <c:pt idx="158">
                    <c:v>8</c:v>
                  </c:pt>
                  <c:pt idx="159">
                    <c:v>9</c:v>
                  </c:pt>
                  <c:pt idx="160">
                    <c:v>10</c:v>
                  </c:pt>
                  <c:pt idx="161">
                    <c:v>11</c:v>
                  </c:pt>
                  <c:pt idx="162">
                    <c:v>12</c:v>
                  </c:pt>
                  <c:pt idx="163">
                    <c:v>13</c:v>
                  </c:pt>
                  <c:pt idx="164">
                    <c:v>14</c:v>
                  </c:pt>
                  <c:pt idx="165">
                    <c:v>15</c:v>
                  </c:pt>
                  <c:pt idx="166">
                    <c:v>16</c:v>
                  </c:pt>
                  <c:pt idx="167">
                    <c:v>17</c:v>
                  </c:pt>
                  <c:pt idx="168">
                    <c:v>18</c:v>
                  </c:pt>
                  <c:pt idx="169">
                    <c:v>19</c:v>
                  </c:pt>
                  <c:pt idx="170">
                    <c:v>20</c:v>
                  </c:pt>
                  <c:pt idx="171">
                    <c:v>21</c:v>
                  </c:pt>
                  <c:pt idx="172">
                    <c:v>22</c:v>
                  </c:pt>
                  <c:pt idx="173">
                    <c:v>23</c:v>
                  </c:pt>
                  <c:pt idx="174">
                    <c:v>24</c:v>
                  </c:pt>
                  <c:pt idx="175">
                    <c:v>25</c:v>
                  </c:pt>
                  <c:pt idx="176">
                    <c:v>26</c:v>
                  </c:pt>
                  <c:pt idx="177">
                    <c:v>27</c:v>
                  </c:pt>
                  <c:pt idx="178">
                    <c:v>28</c:v>
                  </c:pt>
                  <c:pt idx="179">
                    <c:v>29</c:v>
                  </c:pt>
                  <c:pt idx="180">
                    <c:v>30</c:v>
                  </c:pt>
                  <c:pt idx="181">
                    <c:v>1</c:v>
                  </c:pt>
                  <c:pt idx="182">
                    <c:v>2</c:v>
                  </c:pt>
                  <c:pt idx="183">
                    <c:v>3</c:v>
                  </c:pt>
                  <c:pt idx="184">
                    <c:v>4</c:v>
                  </c:pt>
                  <c:pt idx="185">
                    <c:v>5</c:v>
                  </c:pt>
                  <c:pt idx="186">
                    <c:v>6</c:v>
                  </c:pt>
                  <c:pt idx="187">
                    <c:v>7</c:v>
                  </c:pt>
                  <c:pt idx="188">
                    <c:v>8</c:v>
                  </c:pt>
                  <c:pt idx="189">
                    <c:v>9</c:v>
                  </c:pt>
                  <c:pt idx="190">
                    <c:v>10</c:v>
                  </c:pt>
                  <c:pt idx="191">
                    <c:v>11</c:v>
                  </c:pt>
                  <c:pt idx="192">
                    <c:v>12</c:v>
                  </c:pt>
                  <c:pt idx="193">
                    <c:v>13</c:v>
                  </c:pt>
                  <c:pt idx="194">
                    <c:v>14</c:v>
                  </c:pt>
                  <c:pt idx="195">
                    <c:v>15</c:v>
                  </c:pt>
                  <c:pt idx="196">
                    <c:v>16</c:v>
                  </c:pt>
                  <c:pt idx="197">
                    <c:v>17</c:v>
                  </c:pt>
                  <c:pt idx="198">
                    <c:v>18</c:v>
                  </c:pt>
                  <c:pt idx="199">
                    <c:v>19</c:v>
                  </c:pt>
                  <c:pt idx="200">
                    <c:v>20</c:v>
                  </c:pt>
                  <c:pt idx="201">
                    <c:v>21</c:v>
                  </c:pt>
                  <c:pt idx="202">
                    <c:v>22</c:v>
                  </c:pt>
                  <c:pt idx="203">
                    <c:v>23</c:v>
                  </c:pt>
                  <c:pt idx="204">
                    <c:v>24</c:v>
                  </c:pt>
                  <c:pt idx="205">
                    <c:v>25</c:v>
                  </c:pt>
                  <c:pt idx="206">
                    <c:v>26</c:v>
                  </c:pt>
                  <c:pt idx="207">
                    <c:v>27</c:v>
                  </c:pt>
                  <c:pt idx="208">
                    <c:v>28</c:v>
                  </c:pt>
                  <c:pt idx="209">
                    <c:v>29</c:v>
                  </c:pt>
                  <c:pt idx="210">
                    <c:v>30</c:v>
                  </c:pt>
                  <c:pt idx="211">
                    <c:v>31</c:v>
                  </c:pt>
                  <c:pt idx="212">
                    <c:v>1</c:v>
                  </c:pt>
                  <c:pt idx="213">
                    <c:v>2</c:v>
                  </c:pt>
                  <c:pt idx="214">
                    <c:v>3</c:v>
                  </c:pt>
                  <c:pt idx="215">
                    <c:v>4</c:v>
                  </c:pt>
                  <c:pt idx="216">
                    <c:v>5</c:v>
                  </c:pt>
                  <c:pt idx="217">
                    <c:v>6</c:v>
                  </c:pt>
                  <c:pt idx="218">
                    <c:v>7</c:v>
                  </c:pt>
                  <c:pt idx="219">
                    <c:v>8</c:v>
                  </c:pt>
                  <c:pt idx="220">
                    <c:v>9</c:v>
                  </c:pt>
                  <c:pt idx="221">
                    <c:v>10</c:v>
                  </c:pt>
                  <c:pt idx="222">
                    <c:v>11</c:v>
                  </c:pt>
                  <c:pt idx="223">
                    <c:v>12</c:v>
                  </c:pt>
                  <c:pt idx="224">
                    <c:v>13</c:v>
                  </c:pt>
                  <c:pt idx="225">
                    <c:v>14</c:v>
                  </c:pt>
                  <c:pt idx="226">
                    <c:v>15</c:v>
                  </c:pt>
                  <c:pt idx="227">
                    <c:v>16</c:v>
                  </c:pt>
                  <c:pt idx="228">
                    <c:v>17</c:v>
                  </c:pt>
                  <c:pt idx="229">
                    <c:v>18</c:v>
                  </c:pt>
                  <c:pt idx="230">
                    <c:v>19</c:v>
                  </c:pt>
                  <c:pt idx="231">
                    <c:v>20</c:v>
                  </c:pt>
                  <c:pt idx="232">
                    <c:v>21</c:v>
                  </c:pt>
                  <c:pt idx="233">
                    <c:v>22</c:v>
                  </c:pt>
                  <c:pt idx="234">
                    <c:v>23</c:v>
                  </c:pt>
                  <c:pt idx="235">
                    <c:v>24</c:v>
                  </c:pt>
                  <c:pt idx="236">
                    <c:v>25</c:v>
                  </c:pt>
                  <c:pt idx="237">
                    <c:v>26</c:v>
                  </c:pt>
                  <c:pt idx="238">
                    <c:v>27</c:v>
                  </c:pt>
                  <c:pt idx="239">
                    <c:v>28</c:v>
                  </c:pt>
                  <c:pt idx="240">
                    <c:v>29</c:v>
                  </c:pt>
                  <c:pt idx="241">
                    <c:v>30</c:v>
                  </c:pt>
                  <c:pt idx="242">
                    <c:v>31</c:v>
                  </c:pt>
                  <c:pt idx="243">
                    <c:v>1</c:v>
                  </c:pt>
                  <c:pt idx="244">
                    <c:v>2</c:v>
                  </c:pt>
                  <c:pt idx="245">
                    <c:v>3</c:v>
                  </c:pt>
                  <c:pt idx="246">
                    <c:v>4</c:v>
                  </c:pt>
                  <c:pt idx="247">
                    <c:v>5</c:v>
                  </c:pt>
                  <c:pt idx="248">
                    <c:v>6</c:v>
                  </c:pt>
                  <c:pt idx="249">
                    <c:v>7</c:v>
                  </c:pt>
                  <c:pt idx="250">
                    <c:v>8</c:v>
                  </c:pt>
                  <c:pt idx="251">
                    <c:v>9</c:v>
                  </c:pt>
                  <c:pt idx="252">
                    <c:v>10</c:v>
                  </c:pt>
                  <c:pt idx="253">
                    <c:v>11</c:v>
                  </c:pt>
                  <c:pt idx="254">
                    <c:v>12</c:v>
                  </c:pt>
                  <c:pt idx="255">
                    <c:v>13</c:v>
                  </c:pt>
                  <c:pt idx="256">
                    <c:v>14</c:v>
                  </c:pt>
                  <c:pt idx="257">
                    <c:v>15</c:v>
                  </c:pt>
                  <c:pt idx="258">
                    <c:v>16</c:v>
                  </c:pt>
                  <c:pt idx="259">
                    <c:v>17</c:v>
                  </c:pt>
                  <c:pt idx="260">
                    <c:v>18</c:v>
                  </c:pt>
                  <c:pt idx="261">
                    <c:v>19</c:v>
                  </c:pt>
                  <c:pt idx="262">
                    <c:v>20</c:v>
                  </c:pt>
                  <c:pt idx="263">
                    <c:v>21</c:v>
                  </c:pt>
                  <c:pt idx="264">
                    <c:v>22</c:v>
                  </c:pt>
                  <c:pt idx="265">
                    <c:v>23</c:v>
                  </c:pt>
                  <c:pt idx="266">
                    <c:v>24</c:v>
                  </c:pt>
                  <c:pt idx="267">
                    <c:v>25</c:v>
                  </c:pt>
                  <c:pt idx="268">
                    <c:v>26</c:v>
                  </c:pt>
                  <c:pt idx="269">
                    <c:v>27</c:v>
                  </c:pt>
                  <c:pt idx="270">
                    <c:v>28</c:v>
                  </c:pt>
                  <c:pt idx="271">
                    <c:v>29</c:v>
                  </c:pt>
                  <c:pt idx="272">
                    <c:v>30</c:v>
                  </c:pt>
                  <c:pt idx="273">
                    <c:v>1</c:v>
                  </c:pt>
                  <c:pt idx="274">
                    <c:v>2</c:v>
                  </c:pt>
                  <c:pt idx="275">
                    <c:v>3</c:v>
                  </c:pt>
                  <c:pt idx="276">
                    <c:v>4</c:v>
                  </c:pt>
                  <c:pt idx="277">
                    <c:v>5</c:v>
                  </c:pt>
                  <c:pt idx="278">
                    <c:v>6</c:v>
                  </c:pt>
                  <c:pt idx="279">
                    <c:v>7</c:v>
                  </c:pt>
                  <c:pt idx="280">
                    <c:v>8</c:v>
                  </c:pt>
                  <c:pt idx="281">
                    <c:v>9</c:v>
                  </c:pt>
                  <c:pt idx="282">
                    <c:v>10</c:v>
                  </c:pt>
                  <c:pt idx="283">
                    <c:v>11</c:v>
                  </c:pt>
                  <c:pt idx="284">
                    <c:v>12</c:v>
                  </c:pt>
                  <c:pt idx="285">
                    <c:v>13</c:v>
                  </c:pt>
                  <c:pt idx="286">
                    <c:v>14</c:v>
                  </c:pt>
                  <c:pt idx="287">
                    <c:v>15</c:v>
                  </c:pt>
                  <c:pt idx="288">
                    <c:v>16</c:v>
                  </c:pt>
                  <c:pt idx="289">
                    <c:v>17</c:v>
                  </c:pt>
                  <c:pt idx="290">
                    <c:v>18</c:v>
                  </c:pt>
                  <c:pt idx="291">
                    <c:v>19</c:v>
                  </c:pt>
                  <c:pt idx="292">
                    <c:v>20</c:v>
                  </c:pt>
                  <c:pt idx="293">
                    <c:v>21</c:v>
                  </c:pt>
                  <c:pt idx="294">
                    <c:v>22</c:v>
                  </c:pt>
                  <c:pt idx="295">
                    <c:v>23</c:v>
                  </c:pt>
                  <c:pt idx="296">
                    <c:v>24</c:v>
                  </c:pt>
                  <c:pt idx="297">
                    <c:v>25</c:v>
                  </c:pt>
                  <c:pt idx="298">
                    <c:v>26</c:v>
                  </c:pt>
                  <c:pt idx="299">
                    <c:v>27</c:v>
                  </c:pt>
                  <c:pt idx="300">
                    <c:v>28</c:v>
                  </c:pt>
                  <c:pt idx="301">
                    <c:v>29</c:v>
                  </c:pt>
                  <c:pt idx="302">
                    <c:v>30</c:v>
                  </c:pt>
                  <c:pt idx="303">
                    <c:v>31</c:v>
                  </c:pt>
                  <c:pt idx="304">
                    <c:v>1</c:v>
                  </c:pt>
                  <c:pt idx="305">
                    <c:v>2</c:v>
                  </c:pt>
                  <c:pt idx="306">
                    <c:v>3</c:v>
                  </c:pt>
                  <c:pt idx="307">
                    <c:v>4</c:v>
                  </c:pt>
                  <c:pt idx="308">
                    <c:v>5</c:v>
                  </c:pt>
                  <c:pt idx="309">
                    <c:v>6</c:v>
                  </c:pt>
                  <c:pt idx="310">
                    <c:v>7</c:v>
                  </c:pt>
                  <c:pt idx="311">
                    <c:v>8</c:v>
                  </c:pt>
                  <c:pt idx="312">
                    <c:v>9</c:v>
                  </c:pt>
                  <c:pt idx="313">
                    <c:v>10</c:v>
                  </c:pt>
                  <c:pt idx="314">
                    <c:v>11</c:v>
                  </c:pt>
                  <c:pt idx="315">
                    <c:v>12</c:v>
                  </c:pt>
                  <c:pt idx="316">
                    <c:v>13</c:v>
                  </c:pt>
                  <c:pt idx="317">
                    <c:v>14</c:v>
                  </c:pt>
                  <c:pt idx="318">
                    <c:v>15</c:v>
                  </c:pt>
                  <c:pt idx="319">
                    <c:v>16</c:v>
                  </c:pt>
                  <c:pt idx="320">
                    <c:v>17</c:v>
                  </c:pt>
                  <c:pt idx="321">
                    <c:v>18</c:v>
                  </c:pt>
                  <c:pt idx="322">
                    <c:v>19</c:v>
                  </c:pt>
                  <c:pt idx="323">
                    <c:v>20</c:v>
                  </c:pt>
                  <c:pt idx="324">
                    <c:v>21</c:v>
                  </c:pt>
                  <c:pt idx="325">
                    <c:v>22</c:v>
                  </c:pt>
                  <c:pt idx="326">
                    <c:v>23</c:v>
                  </c:pt>
                  <c:pt idx="327">
                    <c:v>24</c:v>
                  </c:pt>
                  <c:pt idx="328">
                    <c:v>25</c:v>
                  </c:pt>
                  <c:pt idx="329">
                    <c:v>26</c:v>
                  </c:pt>
                  <c:pt idx="330">
                    <c:v>27</c:v>
                  </c:pt>
                  <c:pt idx="331">
                    <c:v>28</c:v>
                  </c:pt>
                  <c:pt idx="332">
                    <c:v>29</c:v>
                  </c:pt>
                  <c:pt idx="333">
                    <c:v>30</c:v>
                  </c:pt>
                  <c:pt idx="334">
                    <c:v>1</c:v>
                  </c:pt>
                  <c:pt idx="335">
                    <c:v>2</c:v>
                  </c:pt>
                  <c:pt idx="336">
                    <c:v>3</c:v>
                  </c:pt>
                  <c:pt idx="337">
                    <c:v>4</c:v>
                  </c:pt>
                  <c:pt idx="338">
                    <c:v>5</c:v>
                  </c:pt>
                  <c:pt idx="339">
                    <c:v>6</c:v>
                  </c:pt>
                  <c:pt idx="340">
                    <c:v>7</c:v>
                  </c:pt>
                  <c:pt idx="341">
                    <c:v>8</c:v>
                  </c:pt>
                  <c:pt idx="342">
                    <c:v>9</c:v>
                  </c:pt>
                  <c:pt idx="343">
                    <c:v>10</c:v>
                  </c:pt>
                  <c:pt idx="344">
                    <c:v>11</c:v>
                  </c:pt>
                  <c:pt idx="345">
                    <c:v>12</c:v>
                  </c:pt>
                  <c:pt idx="346">
                    <c:v>13</c:v>
                  </c:pt>
                  <c:pt idx="347">
                    <c:v>14</c:v>
                  </c:pt>
                  <c:pt idx="348">
                    <c:v>15</c:v>
                  </c:pt>
                  <c:pt idx="349">
                    <c:v>16</c:v>
                  </c:pt>
                  <c:pt idx="350">
                    <c:v>17</c:v>
                  </c:pt>
                  <c:pt idx="351">
                    <c:v>18</c:v>
                  </c:pt>
                  <c:pt idx="352">
                    <c:v>19</c:v>
                  </c:pt>
                  <c:pt idx="353">
                    <c:v>20</c:v>
                  </c:pt>
                  <c:pt idx="354">
                    <c:v>21</c:v>
                  </c:pt>
                  <c:pt idx="355">
                    <c:v>22</c:v>
                  </c:pt>
                  <c:pt idx="356">
                    <c:v>23</c:v>
                  </c:pt>
                  <c:pt idx="357">
                    <c:v>24</c:v>
                  </c:pt>
                  <c:pt idx="358">
                    <c:v>25</c:v>
                  </c:pt>
                  <c:pt idx="359">
                    <c:v>26</c:v>
                  </c:pt>
                  <c:pt idx="360">
                    <c:v>27</c:v>
                  </c:pt>
                  <c:pt idx="361">
                    <c:v>28</c:v>
                  </c:pt>
                  <c:pt idx="362">
                    <c:v>29</c:v>
                  </c:pt>
                  <c:pt idx="363">
                    <c:v>30</c:v>
                  </c:pt>
                  <c:pt idx="364">
                    <c:v>31</c:v>
                  </c:pt>
                  <c:pt idx="365">
                    <c:v>1</c:v>
                  </c:pt>
                  <c:pt idx="366">
                    <c:v>2</c:v>
                  </c:pt>
                  <c:pt idx="367">
                    <c:v>3</c:v>
                  </c:pt>
                  <c:pt idx="368">
                    <c:v>4</c:v>
                  </c:pt>
                  <c:pt idx="369">
                    <c:v>5</c:v>
                  </c:pt>
                  <c:pt idx="370">
                    <c:v>6</c:v>
                  </c:pt>
                  <c:pt idx="371">
                    <c:v>7</c:v>
                  </c:pt>
                  <c:pt idx="372">
                    <c:v>8</c:v>
                  </c:pt>
                  <c:pt idx="373">
                    <c:v>9</c:v>
                  </c:pt>
                  <c:pt idx="374">
                    <c:v>10</c:v>
                  </c:pt>
                  <c:pt idx="375">
                    <c:v>11</c:v>
                  </c:pt>
                  <c:pt idx="376">
                    <c:v>12</c:v>
                  </c:pt>
                  <c:pt idx="377">
                    <c:v>13</c:v>
                  </c:pt>
                  <c:pt idx="378">
                    <c:v>14</c:v>
                  </c:pt>
                  <c:pt idx="379">
                    <c:v>15</c:v>
                  </c:pt>
                  <c:pt idx="380">
                    <c:v>16</c:v>
                  </c:pt>
                  <c:pt idx="381">
                    <c:v>17</c:v>
                  </c:pt>
                  <c:pt idx="382">
                    <c:v>18</c:v>
                  </c:pt>
                  <c:pt idx="383">
                    <c:v>19</c:v>
                  </c:pt>
                  <c:pt idx="384">
                    <c:v>20</c:v>
                  </c:pt>
                  <c:pt idx="385">
                    <c:v>21</c:v>
                  </c:pt>
                  <c:pt idx="386">
                    <c:v>22</c:v>
                  </c:pt>
                  <c:pt idx="387">
                    <c:v>23</c:v>
                  </c:pt>
                  <c:pt idx="388">
                    <c:v>24</c:v>
                  </c:pt>
                  <c:pt idx="389">
                    <c:v>25</c:v>
                  </c:pt>
                  <c:pt idx="390">
                    <c:v>26</c:v>
                  </c:pt>
                  <c:pt idx="391">
                    <c:v>27</c:v>
                  </c:pt>
                  <c:pt idx="392">
                    <c:v>28</c:v>
                  </c:pt>
                  <c:pt idx="393">
                    <c:v>29</c:v>
                  </c:pt>
                  <c:pt idx="394">
                    <c:v>30</c:v>
                  </c:pt>
                  <c:pt idx="395">
                    <c:v>31</c:v>
                  </c:pt>
                  <c:pt idx="396">
                    <c:v>1</c:v>
                  </c:pt>
                  <c:pt idx="397">
                    <c:v>2</c:v>
                  </c:pt>
                  <c:pt idx="398">
                    <c:v>3</c:v>
                  </c:pt>
                  <c:pt idx="399">
                    <c:v>4</c:v>
                  </c:pt>
                  <c:pt idx="400">
                    <c:v>5</c:v>
                  </c:pt>
                  <c:pt idx="401">
                    <c:v>6</c:v>
                  </c:pt>
                  <c:pt idx="402">
                    <c:v>7</c:v>
                  </c:pt>
                  <c:pt idx="403">
                    <c:v>8</c:v>
                  </c:pt>
                  <c:pt idx="404">
                    <c:v>9</c:v>
                  </c:pt>
                  <c:pt idx="405">
                    <c:v>10</c:v>
                  </c:pt>
                  <c:pt idx="406">
                    <c:v>11</c:v>
                  </c:pt>
                  <c:pt idx="407">
                    <c:v>12</c:v>
                  </c:pt>
                  <c:pt idx="408">
                    <c:v>13</c:v>
                  </c:pt>
                  <c:pt idx="409">
                    <c:v>14</c:v>
                  </c:pt>
                  <c:pt idx="410">
                    <c:v>15</c:v>
                  </c:pt>
                  <c:pt idx="411">
                    <c:v>16</c:v>
                  </c:pt>
                  <c:pt idx="412">
                    <c:v>17</c:v>
                  </c:pt>
                  <c:pt idx="413">
                    <c:v>18</c:v>
                  </c:pt>
                  <c:pt idx="414">
                    <c:v>19</c:v>
                  </c:pt>
                  <c:pt idx="415">
                    <c:v>20</c:v>
                  </c:pt>
                  <c:pt idx="416">
                    <c:v>21</c:v>
                  </c:pt>
                  <c:pt idx="417">
                    <c:v>22</c:v>
                  </c:pt>
                  <c:pt idx="418">
                    <c:v>23</c:v>
                  </c:pt>
                  <c:pt idx="419">
                    <c:v>24</c:v>
                  </c:pt>
                  <c:pt idx="420">
                    <c:v>25</c:v>
                  </c:pt>
                  <c:pt idx="421">
                    <c:v>26</c:v>
                  </c:pt>
                  <c:pt idx="422">
                    <c:v>27</c:v>
                  </c:pt>
                  <c:pt idx="423">
                    <c:v>28</c:v>
                  </c:pt>
                  <c:pt idx="424">
                    <c:v>1</c:v>
                  </c:pt>
                  <c:pt idx="425">
                    <c:v>2</c:v>
                  </c:pt>
                  <c:pt idx="426">
                    <c:v>3</c:v>
                  </c:pt>
                  <c:pt idx="427">
                    <c:v>4</c:v>
                  </c:pt>
                  <c:pt idx="428">
                    <c:v>5</c:v>
                  </c:pt>
                  <c:pt idx="429">
                    <c:v>6</c:v>
                  </c:pt>
                  <c:pt idx="430">
                    <c:v>7</c:v>
                  </c:pt>
                  <c:pt idx="431">
                    <c:v>8</c:v>
                  </c:pt>
                  <c:pt idx="432">
                    <c:v>9</c:v>
                  </c:pt>
                  <c:pt idx="433">
                    <c:v>10</c:v>
                  </c:pt>
                  <c:pt idx="434">
                    <c:v>11</c:v>
                  </c:pt>
                  <c:pt idx="435">
                    <c:v>12</c:v>
                  </c:pt>
                  <c:pt idx="436">
                    <c:v>13</c:v>
                  </c:pt>
                  <c:pt idx="437">
                    <c:v>14</c:v>
                  </c:pt>
                  <c:pt idx="438">
                    <c:v>15</c:v>
                  </c:pt>
                  <c:pt idx="439">
                    <c:v>16</c:v>
                  </c:pt>
                  <c:pt idx="440">
                    <c:v>17</c:v>
                  </c:pt>
                  <c:pt idx="441">
                    <c:v>18</c:v>
                  </c:pt>
                  <c:pt idx="442">
                    <c:v>19</c:v>
                  </c:pt>
                  <c:pt idx="443">
                    <c:v>20</c:v>
                  </c:pt>
                  <c:pt idx="444">
                    <c:v>21</c:v>
                  </c:pt>
                  <c:pt idx="445">
                    <c:v>22</c:v>
                  </c:pt>
                  <c:pt idx="446">
                    <c:v>23</c:v>
                  </c:pt>
                  <c:pt idx="447">
                    <c:v>24</c:v>
                  </c:pt>
                  <c:pt idx="448">
                    <c:v>25</c:v>
                  </c:pt>
                  <c:pt idx="449">
                    <c:v>26</c:v>
                  </c:pt>
                  <c:pt idx="450">
                    <c:v>27</c:v>
                  </c:pt>
                  <c:pt idx="451">
                    <c:v>28</c:v>
                  </c:pt>
                  <c:pt idx="452">
                    <c:v>29</c:v>
                  </c:pt>
                  <c:pt idx="453">
                    <c:v>30</c:v>
                  </c:pt>
                  <c:pt idx="454">
                    <c:v>31</c:v>
                  </c:pt>
                  <c:pt idx="455">
                    <c:v>1</c:v>
                  </c:pt>
                  <c:pt idx="456">
                    <c:v>2</c:v>
                  </c:pt>
                  <c:pt idx="457">
                    <c:v>3</c:v>
                  </c:pt>
                  <c:pt idx="458">
                    <c:v>4</c:v>
                  </c:pt>
                  <c:pt idx="459">
                    <c:v>5</c:v>
                  </c:pt>
                  <c:pt idx="460">
                    <c:v>6</c:v>
                  </c:pt>
                  <c:pt idx="461">
                    <c:v>7</c:v>
                  </c:pt>
                  <c:pt idx="462">
                    <c:v>8</c:v>
                  </c:pt>
                  <c:pt idx="463">
                    <c:v>9</c:v>
                  </c:pt>
                  <c:pt idx="464">
                    <c:v>10</c:v>
                  </c:pt>
                  <c:pt idx="465">
                    <c:v>11</c:v>
                  </c:pt>
                  <c:pt idx="466">
                    <c:v>12</c:v>
                  </c:pt>
                  <c:pt idx="467">
                    <c:v>13</c:v>
                  </c:pt>
                  <c:pt idx="468">
                    <c:v>14</c:v>
                  </c:pt>
                  <c:pt idx="469">
                    <c:v>15</c:v>
                  </c:pt>
                  <c:pt idx="470">
                    <c:v>16</c:v>
                  </c:pt>
                  <c:pt idx="471">
                    <c:v>17</c:v>
                  </c:pt>
                  <c:pt idx="472">
                    <c:v>18</c:v>
                  </c:pt>
                  <c:pt idx="473">
                    <c:v>19</c:v>
                  </c:pt>
                  <c:pt idx="474">
                    <c:v>20</c:v>
                  </c:pt>
                  <c:pt idx="475">
                    <c:v>21</c:v>
                  </c:pt>
                  <c:pt idx="476">
                    <c:v>22</c:v>
                  </c:pt>
                  <c:pt idx="477">
                    <c:v>23</c:v>
                  </c:pt>
                  <c:pt idx="478">
                    <c:v>24</c:v>
                  </c:pt>
                  <c:pt idx="479">
                    <c:v>25</c:v>
                  </c:pt>
                  <c:pt idx="480">
                    <c:v>26</c:v>
                  </c:pt>
                  <c:pt idx="481">
                    <c:v>27</c:v>
                  </c:pt>
                  <c:pt idx="482">
                    <c:v>28</c:v>
                  </c:pt>
                  <c:pt idx="483">
                    <c:v>29</c:v>
                  </c:pt>
                  <c:pt idx="484">
                    <c:v>30</c:v>
                  </c:pt>
                  <c:pt idx="485">
                    <c:v>1</c:v>
                  </c:pt>
                  <c:pt idx="486">
                    <c:v>2</c:v>
                  </c:pt>
                  <c:pt idx="487">
                    <c:v>3</c:v>
                  </c:pt>
                  <c:pt idx="488">
                    <c:v>4</c:v>
                  </c:pt>
                  <c:pt idx="489">
                    <c:v>5</c:v>
                  </c:pt>
                  <c:pt idx="490">
                    <c:v>6</c:v>
                  </c:pt>
                  <c:pt idx="491">
                    <c:v>7</c:v>
                  </c:pt>
                  <c:pt idx="492">
                    <c:v>8</c:v>
                  </c:pt>
                  <c:pt idx="493">
                    <c:v>9</c:v>
                  </c:pt>
                  <c:pt idx="494">
                    <c:v>10</c:v>
                  </c:pt>
                  <c:pt idx="495">
                    <c:v>11</c:v>
                  </c:pt>
                  <c:pt idx="496">
                    <c:v>12</c:v>
                  </c:pt>
                  <c:pt idx="497">
                    <c:v>13</c:v>
                  </c:pt>
                  <c:pt idx="498">
                    <c:v>14</c:v>
                  </c:pt>
                  <c:pt idx="499">
                    <c:v>15</c:v>
                  </c:pt>
                  <c:pt idx="500">
                    <c:v>16</c:v>
                  </c:pt>
                  <c:pt idx="501">
                    <c:v>17</c:v>
                  </c:pt>
                  <c:pt idx="502">
                    <c:v>18</c:v>
                  </c:pt>
                  <c:pt idx="503">
                    <c:v>19</c:v>
                  </c:pt>
                  <c:pt idx="504">
                    <c:v>20</c:v>
                  </c:pt>
                  <c:pt idx="505">
                    <c:v>21</c:v>
                  </c:pt>
                  <c:pt idx="506">
                    <c:v>22</c:v>
                  </c:pt>
                  <c:pt idx="507">
                    <c:v>23</c:v>
                  </c:pt>
                  <c:pt idx="508">
                    <c:v>24</c:v>
                  </c:pt>
                  <c:pt idx="509">
                    <c:v>25</c:v>
                  </c:pt>
                  <c:pt idx="510">
                    <c:v>26</c:v>
                  </c:pt>
                  <c:pt idx="511">
                    <c:v>27</c:v>
                  </c:pt>
                  <c:pt idx="512">
                    <c:v>28</c:v>
                  </c:pt>
                  <c:pt idx="513">
                    <c:v>29</c:v>
                  </c:pt>
                  <c:pt idx="514">
                    <c:v>30</c:v>
                  </c:pt>
                  <c:pt idx="515">
                    <c:v>31</c:v>
                  </c:pt>
                  <c:pt idx="516">
                    <c:v>1</c:v>
                  </c:pt>
                  <c:pt idx="517">
                    <c:v>2</c:v>
                  </c:pt>
                  <c:pt idx="518">
                    <c:v>3</c:v>
                  </c:pt>
                  <c:pt idx="519">
                    <c:v>4</c:v>
                  </c:pt>
                  <c:pt idx="520">
                    <c:v>5</c:v>
                  </c:pt>
                  <c:pt idx="521">
                    <c:v>6</c:v>
                  </c:pt>
                  <c:pt idx="522">
                    <c:v>7</c:v>
                  </c:pt>
                  <c:pt idx="523">
                    <c:v>8</c:v>
                  </c:pt>
                  <c:pt idx="524">
                    <c:v>9</c:v>
                  </c:pt>
                  <c:pt idx="525">
                    <c:v>10</c:v>
                  </c:pt>
                  <c:pt idx="526">
                    <c:v>11</c:v>
                  </c:pt>
                  <c:pt idx="527">
                    <c:v>12</c:v>
                  </c:pt>
                  <c:pt idx="528">
                    <c:v>13</c:v>
                  </c:pt>
                  <c:pt idx="529">
                    <c:v>14</c:v>
                  </c:pt>
                  <c:pt idx="530">
                    <c:v>15</c:v>
                  </c:pt>
                  <c:pt idx="531">
                    <c:v>16</c:v>
                  </c:pt>
                  <c:pt idx="532">
                    <c:v>17</c:v>
                  </c:pt>
                  <c:pt idx="533">
                    <c:v>18</c:v>
                  </c:pt>
                  <c:pt idx="534">
                    <c:v>19</c:v>
                  </c:pt>
                  <c:pt idx="535">
                    <c:v>20</c:v>
                  </c:pt>
                  <c:pt idx="536">
                    <c:v>21</c:v>
                  </c:pt>
                  <c:pt idx="537">
                    <c:v>22</c:v>
                  </c:pt>
                  <c:pt idx="538">
                    <c:v>23</c:v>
                  </c:pt>
                  <c:pt idx="539">
                    <c:v>24</c:v>
                  </c:pt>
                  <c:pt idx="540">
                    <c:v>25</c:v>
                  </c:pt>
                  <c:pt idx="541">
                    <c:v>26</c:v>
                  </c:pt>
                  <c:pt idx="542">
                    <c:v>27</c:v>
                  </c:pt>
                  <c:pt idx="543">
                    <c:v>28</c:v>
                  </c:pt>
                  <c:pt idx="544">
                    <c:v>29</c:v>
                  </c:pt>
                  <c:pt idx="545">
                    <c:v>30</c:v>
                  </c:pt>
                  <c:pt idx="546">
                    <c:v>1</c:v>
                  </c:pt>
                  <c:pt idx="547">
                    <c:v>2</c:v>
                  </c:pt>
                  <c:pt idx="548">
                    <c:v>3</c:v>
                  </c:pt>
                  <c:pt idx="549">
                    <c:v>4</c:v>
                  </c:pt>
                  <c:pt idx="550">
                    <c:v>5</c:v>
                  </c:pt>
                  <c:pt idx="551">
                    <c:v>6</c:v>
                  </c:pt>
                  <c:pt idx="552">
                    <c:v>7</c:v>
                  </c:pt>
                  <c:pt idx="553">
                    <c:v>8</c:v>
                  </c:pt>
                  <c:pt idx="554">
                    <c:v>9</c:v>
                  </c:pt>
                  <c:pt idx="555">
                    <c:v>10</c:v>
                  </c:pt>
                  <c:pt idx="556">
                    <c:v>11</c:v>
                  </c:pt>
                  <c:pt idx="557">
                    <c:v>12</c:v>
                  </c:pt>
                  <c:pt idx="558">
                    <c:v>13</c:v>
                  </c:pt>
                  <c:pt idx="559">
                    <c:v>14</c:v>
                  </c:pt>
                  <c:pt idx="560">
                    <c:v>15</c:v>
                  </c:pt>
                  <c:pt idx="561">
                    <c:v>16</c:v>
                  </c:pt>
                  <c:pt idx="562">
                    <c:v>17</c:v>
                  </c:pt>
                  <c:pt idx="563">
                    <c:v>18</c:v>
                  </c:pt>
                  <c:pt idx="564">
                    <c:v>19</c:v>
                  </c:pt>
                  <c:pt idx="565">
                    <c:v>20</c:v>
                  </c:pt>
                  <c:pt idx="566">
                    <c:v>21</c:v>
                  </c:pt>
                  <c:pt idx="567">
                    <c:v>22</c:v>
                  </c:pt>
                  <c:pt idx="568">
                    <c:v>23</c:v>
                  </c:pt>
                  <c:pt idx="569">
                    <c:v>24</c:v>
                  </c:pt>
                  <c:pt idx="570">
                    <c:v>25</c:v>
                  </c:pt>
                  <c:pt idx="571">
                    <c:v>26</c:v>
                  </c:pt>
                  <c:pt idx="572">
                    <c:v>27</c:v>
                  </c:pt>
                  <c:pt idx="573">
                    <c:v>28</c:v>
                  </c:pt>
                  <c:pt idx="574">
                    <c:v>29</c:v>
                  </c:pt>
                  <c:pt idx="575">
                    <c:v>30</c:v>
                  </c:pt>
                  <c:pt idx="576">
                    <c:v>31</c:v>
                  </c:pt>
                  <c:pt idx="577">
                    <c:v>1</c:v>
                  </c:pt>
                  <c:pt idx="578">
                    <c:v>2</c:v>
                  </c:pt>
                  <c:pt idx="579">
                    <c:v>3</c:v>
                  </c:pt>
                  <c:pt idx="580">
                    <c:v>4</c:v>
                  </c:pt>
                  <c:pt idx="581">
                    <c:v>5</c:v>
                  </c:pt>
                  <c:pt idx="582">
                    <c:v>6</c:v>
                  </c:pt>
                  <c:pt idx="583">
                    <c:v>7</c:v>
                  </c:pt>
                  <c:pt idx="584">
                    <c:v>8</c:v>
                  </c:pt>
                  <c:pt idx="585">
                    <c:v>9</c:v>
                  </c:pt>
                  <c:pt idx="586">
                    <c:v>10</c:v>
                  </c:pt>
                  <c:pt idx="587">
                    <c:v>11</c:v>
                  </c:pt>
                  <c:pt idx="588">
                    <c:v>12</c:v>
                  </c:pt>
                  <c:pt idx="589">
                    <c:v>13</c:v>
                  </c:pt>
                  <c:pt idx="590">
                    <c:v>14</c:v>
                  </c:pt>
                  <c:pt idx="591">
                    <c:v>15</c:v>
                  </c:pt>
                  <c:pt idx="592">
                    <c:v>16</c:v>
                  </c:pt>
                  <c:pt idx="593">
                    <c:v>17</c:v>
                  </c:pt>
                  <c:pt idx="594">
                    <c:v>18</c:v>
                  </c:pt>
                  <c:pt idx="595">
                    <c:v>19</c:v>
                  </c:pt>
                  <c:pt idx="596">
                    <c:v>20</c:v>
                  </c:pt>
                  <c:pt idx="597">
                    <c:v>21</c:v>
                  </c:pt>
                  <c:pt idx="598">
                    <c:v>22</c:v>
                  </c:pt>
                  <c:pt idx="599">
                    <c:v>23</c:v>
                  </c:pt>
                  <c:pt idx="600">
                    <c:v>24</c:v>
                  </c:pt>
                  <c:pt idx="601">
                    <c:v>25</c:v>
                  </c:pt>
                  <c:pt idx="602">
                    <c:v>26</c:v>
                  </c:pt>
                  <c:pt idx="603">
                    <c:v>27</c:v>
                  </c:pt>
                  <c:pt idx="604">
                    <c:v>28</c:v>
                  </c:pt>
                  <c:pt idx="605">
                    <c:v>29</c:v>
                  </c:pt>
                  <c:pt idx="606">
                    <c:v>30</c:v>
                  </c:pt>
                  <c:pt idx="607">
                    <c:v>31</c:v>
                  </c:pt>
                  <c:pt idx="608">
                    <c:v>1</c:v>
                  </c:pt>
                  <c:pt idx="609">
                    <c:v>2</c:v>
                  </c:pt>
                  <c:pt idx="610">
                    <c:v>3</c:v>
                  </c:pt>
                  <c:pt idx="611">
                    <c:v>4</c:v>
                  </c:pt>
                  <c:pt idx="612">
                    <c:v>5</c:v>
                  </c:pt>
                  <c:pt idx="613">
                    <c:v>6</c:v>
                  </c:pt>
                  <c:pt idx="614">
                    <c:v>7</c:v>
                  </c:pt>
                  <c:pt idx="615">
                    <c:v>8</c:v>
                  </c:pt>
                  <c:pt idx="616">
                    <c:v>9</c:v>
                  </c:pt>
                  <c:pt idx="617">
                    <c:v>10</c:v>
                  </c:pt>
                  <c:pt idx="618">
                    <c:v>11</c:v>
                  </c:pt>
                  <c:pt idx="619">
                    <c:v>12</c:v>
                  </c:pt>
                  <c:pt idx="620">
                    <c:v>13</c:v>
                  </c:pt>
                  <c:pt idx="621">
                    <c:v>14</c:v>
                  </c:pt>
                  <c:pt idx="622">
                    <c:v>15</c:v>
                  </c:pt>
                  <c:pt idx="623">
                    <c:v>16</c:v>
                  </c:pt>
                  <c:pt idx="624">
                    <c:v>17</c:v>
                  </c:pt>
                  <c:pt idx="625">
                    <c:v>18</c:v>
                  </c:pt>
                  <c:pt idx="626">
                    <c:v>19</c:v>
                  </c:pt>
                  <c:pt idx="627">
                    <c:v>20</c:v>
                  </c:pt>
                  <c:pt idx="628">
                    <c:v>21</c:v>
                  </c:pt>
                  <c:pt idx="629">
                    <c:v>22</c:v>
                  </c:pt>
                  <c:pt idx="630">
                    <c:v>23</c:v>
                  </c:pt>
                  <c:pt idx="631">
                    <c:v>24</c:v>
                  </c:pt>
                  <c:pt idx="632">
                    <c:v>25</c:v>
                  </c:pt>
                  <c:pt idx="633">
                    <c:v>26</c:v>
                  </c:pt>
                  <c:pt idx="634">
                    <c:v>27</c:v>
                  </c:pt>
                  <c:pt idx="635">
                    <c:v>28</c:v>
                  </c:pt>
                  <c:pt idx="636">
                    <c:v>29</c:v>
                  </c:pt>
                  <c:pt idx="637">
                    <c:v>30</c:v>
                  </c:pt>
                  <c:pt idx="638">
                    <c:v>1</c:v>
                  </c:pt>
                  <c:pt idx="639">
                    <c:v>2</c:v>
                  </c:pt>
                  <c:pt idx="640">
                    <c:v>3</c:v>
                  </c:pt>
                  <c:pt idx="641">
                    <c:v>4</c:v>
                  </c:pt>
                  <c:pt idx="642">
                    <c:v>5</c:v>
                  </c:pt>
                  <c:pt idx="643">
                    <c:v>6</c:v>
                  </c:pt>
                  <c:pt idx="644">
                    <c:v>7</c:v>
                  </c:pt>
                  <c:pt idx="645">
                    <c:v>8</c:v>
                  </c:pt>
                  <c:pt idx="646">
                    <c:v>9</c:v>
                  </c:pt>
                  <c:pt idx="647">
                    <c:v>10</c:v>
                  </c:pt>
                  <c:pt idx="648">
                    <c:v>11</c:v>
                  </c:pt>
                  <c:pt idx="649">
                    <c:v>12</c:v>
                  </c:pt>
                  <c:pt idx="650">
                    <c:v>13</c:v>
                  </c:pt>
                  <c:pt idx="651">
                    <c:v>14</c:v>
                  </c:pt>
                  <c:pt idx="652">
                    <c:v>15</c:v>
                  </c:pt>
                  <c:pt idx="653">
                    <c:v>16</c:v>
                  </c:pt>
                  <c:pt idx="654">
                    <c:v>17</c:v>
                  </c:pt>
                  <c:pt idx="655">
                    <c:v>18</c:v>
                  </c:pt>
                  <c:pt idx="656">
                    <c:v>19</c:v>
                  </c:pt>
                  <c:pt idx="657">
                    <c:v>20</c:v>
                  </c:pt>
                  <c:pt idx="658">
                    <c:v>21</c:v>
                  </c:pt>
                  <c:pt idx="659">
                    <c:v>22</c:v>
                  </c:pt>
                  <c:pt idx="660">
                    <c:v>23</c:v>
                  </c:pt>
                  <c:pt idx="661">
                    <c:v>24</c:v>
                  </c:pt>
                  <c:pt idx="662">
                    <c:v>25</c:v>
                  </c:pt>
                  <c:pt idx="663">
                    <c:v>26</c:v>
                  </c:pt>
                  <c:pt idx="664">
                    <c:v>27</c:v>
                  </c:pt>
                  <c:pt idx="665">
                    <c:v>28</c:v>
                  </c:pt>
                  <c:pt idx="666">
                    <c:v>29</c:v>
                  </c:pt>
                  <c:pt idx="667">
                    <c:v>30</c:v>
                  </c:pt>
                  <c:pt idx="668">
                    <c:v>31</c:v>
                  </c:pt>
                  <c:pt idx="669">
                    <c:v>1</c:v>
                  </c:pt>
                  <c:pt idx="670">
                    <c:v>2</c:v>
                  </c:pt>
                  <c:pt idx="671">
                    <c:v>3</c:v>
                  </c:pt>
                  <c:pt idx="672">
                    <c:v>4</c:v>
                  </c:pt>
                  <c:pt idx="673">
                    <c:v>5</c:v>
                  </c:pt>
                  <c:pt idx="674">
                    <c:v>6</c:v>
                  </c:pt>
                  <c:pt idx="675">
                    <c:v>7</c:v>
                  </c:pt>
                  <c:pt idx="676">
                    <c:v>8</c:v>
                  </c:pt>
                  <c:pt idx="677">
                    <c:v>9</c:v>
                  </c:pt>
                  <c:pt idx="678">
                    <c:v>10</c:v>
                  </c:pt>
                  <c:pt idx="679">
                    <c:v>11</c:v>
                  </c:pt>
                  <c:pt idx="680">
                    <c:v>12</c:v>
                  </c:pt>
                  <c:pt idx="681">
                    <c:v>13</c:v>
                  </c:pt>
                  <c:pt idx="682">
                    <c:v>14</c:v>
                  </c:pt>
                  <c:pt idx="683">
                    <c:v>15</c:v>
                  </c:pt>
                  <c:pt idx="684">
                    <c:v>16</c:v>
                  </c:pt>
                  <c:pt idx="685">
                    <c:v>17</c:v>
                  </c:pt>
                  <c:pt idx="686">
                    <c:v>18</c:v>
                  </c:pt>
                  <c:pt idx="687">
                    <c:v>19</c:v>
                  </c:pt>
                  <c:pt idx="688">
                    <c:v>20</c:v>
                  </c:pt>
                  <c:pt idx="689">
                    <c:v>21</c:v>
                  </c:pt>
                  <c:pt idx="690">
                    <c:v>22</c:v>
                  </c:pt>
                  <c:pt idx="691">
                    <c:v>23</c:v>
                  </c:pt>
                  <c:pt idx="692">
                    <c:v>24</c:v>
                  </c:pt>
                  <c:pt idx="693">
                    <c:v>25</c:v>
                  </c:pt>
                  <c:pt idx="694">
                    <c:v>26</c:v>
                  </c:pt>
                  <c:pt idx="695">
                    <c:v>27</c:v>
                  </c:pt>
                  <c:pt idx="696">
                    <c:v>28</c:v>
                  </c:pt>
                  <c:pt idx="697">
                    <c:v>29</c:v>
                  </c:pt>
                  <c:pt idx="698">
                    <c:v>30</c:v>
                  </c:pt>
                  <c:pt idx="699">
                    <c:v>1</c:v>
                  </c:pt>
                  <c:pt idx="700">
                    <c:v>2</c:v>
                  </c:pt>
                  <c:pt idx="701">
                    <c:v>3</c:v>
                  </c:pt>
                  <c:pt idx="702">
                    <c:v>4</c:v>
                  </c:pt>
                  <c:pt idx="703">
                    <c:v>5</c:v>
                  </c:pt>
                  <c:pt idx="704">
                    <c:v>6</c:v>
                  </c:pt>
                  <c:pt idx="705">
                    <c:v>7</c:v>
                  </c:pt>
                  <c:pt idx="706">
                    <c:v>8</c:v>
                  </c:pt>
                  <c:pt idx="707">
                    <c:v>9</c:v>
                  </c:pt>
                  <c:pt idx="708">
                    <c:v>10</c:v>
                  </c:pt>
                  <c:pt idx="709">
                    <c:v>11</c:v>
                  </c:pt>
                  <c:pt idx="710">
                    <c:v>12</c:v>
                  </c:pt>
                  <c:pt idx="711">
                    <c:v>13</c:v>
                  </c:pt>
                  <c:pt idx="712">
                    <c:v>14</c:v>
                  </c:pt>
                  <c:pt idx="713">
                    <c:v>15</c:v>
                  </c:pt>
                  <c:pt idx="714">
                    <c:v>16</c:v>
                  </c:pt>
                  <c:pt idx="715">
                    <c:v>17</c:v>
                  </c:pt>
                  <c:pt idx="716">
                    <c:v>18</c:v>
                  </c:pt>
                  <c:pt idx="717">
                    <c:v>19</c:v>
                  </c:pt>
                  <c:pt idx="718">
                    <c:v>20</c:v>
                  </c:pt>
                  <c:pt idx="719">
                    <c:v>21</c:v>
                  </c:pt>
                  <c:pt idx="720">
                    <c:v>22</c:v>
                  </c:pt>
                  <c:pt idx="721">
                    <c:v>23</c:v>
                  </c:pt>
                  <c:pt idx="722">
                    <c:v>24</c:v>
                  </c:pt>
                  <c:pt idx="723">
                    <c:v>25</c:v>
                  </c:pt>
                  <c:pt idx="724">
                    <c:v>26</c:v>
                  </c:pt>
                  <c:pt idx="725">
                    <c:v>27</c:v>
                  </c:pt>
                  <c:pt idx="726">
                    <c:v>28</c:v>
                  </c:pt>
                  <c:pt idx="727">
                    <c:v>29</c:v>
                  </c:pt>
                  <c:pt idx="728">
                    <c:v>30</c:v>
                  </c:pt>
                  <c:pt idx="729">
                    <c:v>31</c:v>
                  </c:pt>
                  <c:pt idx="730">
                    <c:v>1</c:v>
                  </c:pt>
                  <c:pt idx="731">
                    <c:v>2</c:v>
                  </c:pt>
                  <c:pt idx="732">
                    <c:v>3</c:v>
                  </c:pt>
                  <c:pt idx="733">
                    <c:v>4</c:v>
                  </c:pt>
                  <c:pt idx="734">
                    <c:v>5</c:v>
                  </c:pt>
                  <c:pt idx="735">
                    <c:v>6</c:v>
                  </c:pt>
                  <c:pt idx="736">
                    <c:v>7</c:v>
                  </c:pt>
                  <c:pt idx="737">
                    <c:v>8</c:v>
                  </c:pt>
                  <c:pt idx="738">
                    <c:v>9</c:v>
                  </c:pt>
                  <c:pt idx="739">
                    <c:v>10</c:v>
                  </c:pt>
                  <c:pt idx="740">
                    <c:v>11</c:v>
                  </c:pt>
                  <c:pt idx="741">
                    <c:v>12</c:v>
                  </c:pt>
                  <c:pt idx="742">
                    <c:v>13</c:v>
                  </c:pt>
                  <c:pt idx="743">
                    <c:v>14</c:v>
                  </c:pt>
                  <c:pt idx="744">
                    <c:v>15</c:v>
                  </c:pt>
                  <c:pt idx="745">
                    <c:v>16</c:v>
                  </c:pt>
                  <c:pt idx="746">
                    <c:v>17</c:v>
                  </c:pt>
                  <c:pt idx="747">
                    <c:v>18</c:v>
                  </c:pt>
                  <c:pt idx="748">
                    <c:v>19</c:v>
                  </c:pt>
                  <c:pt idx="749">
                    <c:v>20</c:v>
                  </c:pt>
                  <c:pt idx="750">
                    <c:v>21</c:v>
                  </c:pt>
                  <c:pt idx="751">
                    <c:v>22</c:v>
                  </c:pt>
                  <c:pt idx="752">
                    <c:v>23</c:v>
                  </c:pt>
                  <c:pt idx="753">
                    <c:v>24</c:v>
                  </c:pt>
                  <c:pt idx="754">
                    <c:v>25</c:v>
                  </c:pt>
                  <c:pt idx="755">
                    <c:v>26</c:v>
                  </c:pt>
                  <c:pt idx="756">
                    <c:v>27</c:v>
                  </c:pt>
                  <c:pt idx="757">
                    <c:v>28</c:v>
                  </c:pt>
                  <c:pt idx="758">
                    <c:v>29</c:v>
                  </c:pt>
                  <c:pt idx="759">
                    <c:v>30</c:v>
                  </c:pt>
                  <c:pt idx="760">
                    <c:v>31</c:v>
                  </c:pt>
                  <c:pt idx="761">
                    <c:v>1</c:v>
                  </c:pt>
                  <c:pt idx="762">
                    <c:v>2</c:v>
                  </c:pt>
                  <c:pt idx="763">
                    <c:v>3</c:v>
                  </c:pt>
                  <c:pt idx="764">
                    <c:v>4</c:v>
                  </c:pt>
                  <c:pt idx="765">
                    <c:v>5</c:v>
                  </c:pt>
                  <c:pt idx="766">
                    <c:v>6</c:v>
                  </c:pt>
                  <c:pt idx="767">
                    <c:v>7</c:v>
                  </c:pt>
                  <c:pt idx="768">
                    <c:v>8</c:v>
                  </c:pt>
                  <c:pt idx="769">
                    <c:v>9</c:v>
                  </c:pt>
                  <c:pt idx="770">
                    <c:v>10</c:v>
                  </c:pt>
                  <c:pt idx="771">
                    <c:v>11</c:v>
                  </c:pt>
                  <c:pt idx="772">
                    <c:v>12</c:v>
                  </c:pt>
                  <c:pt idx="773">
                    <c:v>13</c:v>
                  </c:pt>
                  <c:pt idx="774">
                    <c:v>14</c:v>
                  </c:pt>
                  <c:pt idx="775">
                    <c:v>15</c:v>
                  </c:pt>
                  <c:pt idx="776">
                    <c:v>16</c:v>
                  </c:pt>
                  <c:pt idx="777">
                    <c:v>17</c:v>
                  </c:pt>
                  <c:pt idx="778">
                    <c:v>18</c:v>
                  </c:pt>
                  <c:pt idx="779">
                    <c:v>19</c:v>
                  </c:pt>
                  <c:pt idx="780">
                    <c:v>20</c:v>
                  </c:pt>
                  <c:pt idx="781">
                    <c:v>21</c:v>
                  </c:pt>
                  <c:pt idx="782">
                    <c:v>22</c:v>
                  </c:pt>
                  <c:pt idx="783">
                    <c:v>23</c:v>
                  </c:pt>
                  <c:pt idx="784">
                    <c:v>24</c:v>
                  </c:pt>
                  <c:pt idx="785">
                    <c:v>25</c:v>
                  </c:pt>
                  <c:pt idx="786">
                    <c:v>26</c:v>
                  </c:pt>
                  <c:pt idx="787">
                    <c:v>27</c:v>
                  </c:pt>
                  <c:pt idx="788">
                    <c:v>28</c:v>
                  </c:pt>
                  <c:pt idx="789">
                    <c:v>1</c:v>
                  </c:pt>
                  <c:pt idx="790">
                    <c:v>2</c:v>
                  </c:pt>
                  <c:pt idx="791">
                    <c:v>3</c:v>
                  </c:pt>
                  <c:pt idx="792">
                    <c:v>4</c:v>
                  </c:pt>
                  <c:pt idx="793">
                    <c:v>5</c:v>
                  </c:pt>
                  <c:pt idx="794">
                    <c:v>6</c:v>
                  </c:pt>
                  <c:pt idx="795">
                    <c:v>7</c:v>
                  </c:pt>
                  <c:pt idx="796">
                    <c:v>8</c:v>
                  </c:pt>
                  <c:pt idx="797">
                    <c:v>9</c:v>
                  </c:pt>
                  <c:pt idx="798">
                    <c:v>10</c:v>
                  </c:pt>
                  <c:pt idx="799">
                    <c:v>11</c:v>
                  </c:pt>
                  <c:pt idx="800">
                    <c:v>12</c:v>
                  </c:pt>
                  <c:pt idx="801">
                    <c:v>13</c:v>
                  </c:pt>
                  <c:pt idx="802">
                    <c:v>14</c:v>
                  </c:pt>
                  <c:pt idx="803">
                    <c:v>15</c:v>
                  </c:pt>
                  <c:pt idx="804">
                    <c:v>16</c:v>
                  </c:pt>
                  <c:pt idx="805">
                    <c:v>17</c:v>
                  </c:pt>
                  <c:pt idx="806">
                    <c:v>18</c:v>
                  </c:pt>
                  <c:pt idx="807">
                    <c:v>19</c:v>
                  </c:pt>
                  <c:pt idx="808">
                    <c:v>20</c:v>
                  </c:pt>
                  <c:pt idx="809">
                    <c:v>21</c:v>
                  </c:pt>
                  <c:pt idx="810">
                    <c:v>22</c:v>
                  </c:pt>
                  <c:pt idx="811">
                    <c:v>23</c:v>
                  </c:pt>
                  <c:pt idx="812">
                    <c:v>24</c:v>
                  </c:pt>
                  <c:pt idx="813">
                    <c:v>25</c:v>
                  </c:pt>
                  <c:pt idx="814">
                    <c:v>26</c:v>
                  </c:pt>
                  <c:pt idx="815">
                    <c:v>27</c:v>
                  </c:pt>
                  <c:pt idx="816">
                    <c:v>28</c:v>
                  </c:pt>
                  <c:pt idx="817">
                    <c:v>29</c:v>
                  </c:pt>
                  <c:pt idx="818">
                    <c:v>30</c:v>
                  </c:pt>
                  <c:pt idx="819">
                    <c:v>31</c:v>
                  </c:pt>
                  <c:pt idx="820">
                    <c:v>1</c:v>
                  </c:pt>
                  <c:pt idx="821">
                    <c:v>2</c:v>
                  </c:pt>
                  <c:pt idx="822">
                    <c:v>3</c:v>
                  </c:pt>
                  <c:pt idx="823">
                    <c:v>4</c:v>
                  </c:pt>
                  <c:pt idx="824">
                    <c:v>5</c:v>
                  </c:pt>
                  <c:pt idx="825">
                    <c:v>6</c:v>
                  </c:pt>
                  <c:pt idx="826">
                    <c:v>7</c:v>
                  </c:pt>
                  <c:pt idx="827">
                    <c:v>8</c:v>
                  </c:pt>
                  <c:pt idx="828">
                    <c:v>9</c:v>
                  </c:pt>
                  <c:pt idx="829">
                    <c:v>10</c:v>
                  </c:pt>
                  <c:pt idx="830">
                    <c:v>11</c:v>
                  </c:pt>
                  <c:pt idx="831">
                    <c:v>12</c:v>
                  </c:pt>
                  <c:pt idx="832">
                    <c:v>13</c:v>
                  </c:pt>
                  <c:pt idx="833">
                    <c:v>14</c:v>
                  </c:pt>
                  <c:pt idx="834">
                    <c:v>15</c:v>
                  </c:pt>
                  <c:pt idx="835">
                    <c:v>16</c:v>
                  </c:pt>
                  <c:pt idx="836">
                    <c:v>17</c:v>
                  </c:pt>
                  <c:pt idx="837">
                    <c:v>18</c:v>
                  </c:pt>
                  <c:pt idx="838">
                    <c:v>19</c:v>
                  </c:pt>
                  <c:pt idx="839">
                    <c:v>20</c:v>
                  </c:pt>
                  <c:pt idx="840">
                    <c:v>21</c:v>
                  </c:pt>
                  <c:pt idx="841">
                    <c:v>22</c:v>
                  </c:pt>
                  <c:pt idx="842">
                    <c:v>23</c:v>
                  </c:pt>
                  <c:pt idx="843">
                    <c:v>24</c:v>
                  </c:pt>
                  <c:pt idx="844">
                    <c:v>25</c:v>
                  </c:pt>
                  <c:pt idx="845">
                    <c:v>26</c:v>
                  </c:pt>
                  <c:pt idx="846">
                    <c:v>27</c:v>
                  </c:pt>
                  <c:pt idx="847">
                    <c:v>28</c:v>
                  </c:pt>
                  <c:pt idx="848">
                    <c:v>29</c:v>
                  </c:pt>
                  <c:pt idx="849">
                    <c:v>30</c:v>
                  </c:pt>
                  <c:pt idx="850">
                    <c:v>1</c:v>
                  </c:pt>
                  <c:pt idx="851">
                    <c:v>2</c:v>
                  </c:pt>
                  <c:pt idx="852">
                    <c:v>3</c:v>
                  </c:pt>
                  <c:pt idx="853">
                    <c:v>4</c:v>
                  </c:pt>
                  <c:pt idx="854">
                    <c:v>5</c:v>
                  </c:pt>
                  <c:pt idx="855">
                    <c:v>6</c:v>
                  </c:pt>
                  <c:pt idx="856">
                    <c:v>7</c:v>
                  </c:pt>
                  <c:pt idx="857">
                    <c:v>8</c:v>
                  </c:pt>
                  <c:pt idx="858">
                    <c:v>9</c:v>
                  </c:pt>
                  <c:pt idx="859">
                    <c:v>10</c:v>
                  </c:pt>
                  <c:pt idx="860">
                    <c:v>11</c:v>
                  </c:pt>
                  <c:pt idx="861">
                    <c:v>12</c:v>
                  </c:pt>
                  <c:pt idx="862">
                    <c:v>13</c:v>
                  </c:pt>
                  <c:pt idx="863">
                    <c:v>14</c:v>
                  </c:pt>
                  <c:pt idx="864">
                    <c:v>15</c:v>
                  </c:pt>
                  <c:pt idx="865">
                    <c:v>16</c:v>
                  </c:pt>
                  <c:pt idx="866">
                    <c:v>17</c:v>
                  </c:pt>
                  <c:pt idx="867">
                    <c:v>18</c:v>
                  </c:pt>
                  <c:pt idx="868">
                    <c:v>19</c:v>
                  </c:pt>
                  <c:pt idx="869">
                    <c:v>20</c:v>
                  </c:pt>
                  <c:pt idx="870">
                    <c:v>21</c:v>
                  </c:pt>
                  <c:pt idx="871">
                    <c:v>22</c:v>
                  </c:pt>
                  <c:pt idx="872">
                    <c:v>23</c:v>
                  </c:pt>
                  <c:pt idx="873">
                    <c:v>24</c:v>
                  </c:pt>
                  <c:pt idx="874">
                    <c:v>25</c:v>
                  </c:pt>
                  <c:pt idx="875">
                    <c:v>26</c:v>
                  </c:pt>
                  <c:pt idx="876">
                    <c:v>27</c:v>
                  </c:pt>
                  <c:pt idx="877">
                    <c:v>28</c:v>
                  </c:pt>
                  <c:pt idx="878">
                    <c:v>29</c:v>
                  </c:pt>
                  <c:pt idx="879">
                    <c:v>30</c:v>
                  </c:pt>
                  <c:pt idx="880">
                    <c:v>31</c:v>
                  </c:pt>
                  <c:pt idx="881">
                    <c:v>1</c:v>
                  </c:pt>
                  <c:pt idx="882">
                    <c:v>2</c:v>
                  </c:pt>
                  <c:pt idx="883">
                    <c:v>3</c:v>
                  </c:pt>
                  <c:pt idx="884">
                    <c:v>4</c:v>
                  </c:pt>
                  <c:pt idx="885">
                    <c:v>5</c:v>
                  </c:pt>
                  <c:pt idx="886">
                    <c:v>6</c:v>
                  </c:pt>
                  <c:pt idx="887">
                    <c:v>7</c:v>
                  </c:pt>
                  <c:pt idx="888">
                    <c:v>8</c:v>
                  </c:pt>
                  <c:pt idx="889">
                    <c:v>9</c:v>
                  </c:pt>
                  <c:pt idx="890">
                    <c:v>10</c:v>
                  </c:pt>
                  <c:pt idx="891">
                    <c:v>11</c:v>
                  </c:pt>
                  <c:pt idx="892">
                    <c:v>12</c:v>
                  </c:pt>
                  <c:pt idx="893">
                    <c:v>13</c:v>
                  </c:pt>
                  <c:pt idx="894">
                    <c:v>14</c:v>
                  </c:pt>
                  <c:pt idx="895">
                    <c:v>15</c:v>
                  </c:pt>
                  <c:pt idx="896">
                    <c:v>16</c:v>
                  </c:pt>
                  <c:pt idx="897">
                    <c:v>17</c:v>
                  </c:pt>
                  <c:pt idx="898">
                    <c:v>18</c:v>
                  </c:pt>
                  <c:pt idx="899">
                    <c:v>19</c:v>
                  </c:pt>
                  <c:pt idx="900">
                    <c:v>20</c:v>
                  </c:pt>
                  <c:pt idx="901">
                    <c:v>21</c:v>
                  </c:pt>
                  <c:pt idx="902">
                    <c:v>22</c:v>
                  </c:pt>
                  <c:pt idx="903">
                    <c:v>23</c:v>
                  </c:pt>
                  <c:pt idx="904">
                    <c:v>24</c:v>
                  </c:pt>
                  <c:pt idx="905">
                    <c:v>25</c:v>
                  </c:pt>
                  <c:pt idx="906">
                    <c:v>26</c:v>
                  </c:pt>
                  <c:pt idx="907">
                    <c:v>27</c:v>
                  </c:pt>
                  <c:pt idx="908">
                    <c:v>28</c:v>
                  </c:pt>
                  <c:pt idx="909">
                    <c:v>29</c:v>
                  </c:pt>
                  <c:pt idx="910">
                    <c:v>30</c:v>
                  </c:pt>
                  <c:pt idx="911">
                    <c:v>1</c:v>
                  </c:pt>
                  <c:pt idx="912">
                    <c:v>2</c:v>
                  </c:pt>
                  <c:pt idx="913">
                    <c:v>3</c:v>
                  </c:pt>
                  <c:pt idx="914">
                    <c:v>4</c:v>
                  </c:pt>
                  <c:pt idx="915">
                    <c:v>5</c:v>
                  </c:pt>
                  <c:pt idx="916">
                    <c:v>6</c:v>
                  </c:pt>
                  <c:pt idx="917">
                    <c:v>7</c:v>
                  </c:pt>
                  <c:pt idx="918">
                    <c:v>8</c:v>
                  </c:pt>
                  <c:pt idx="919">
                    <c:v>9</c:v>
                  </c:pt>
                  <c:pt idx="920">
                    <c:v>10</c:v>
                  </c:pt>
                  <c:pt idx="921">
                    <c:v>11</c:v>
                  </c:pt>
                  <c:pt idx="922">
                    <c:v>12</c:v>
                  </c:pt>
                  <c:pt idx="923">
                    <c:v>13</c:v>
                  </c:pt>
                  <c:pt idx="924">
                    <c:v>14</c:v>
                  </c:pt>
                  <c:pt idx="925">
                    <c:v>15</c:v>
                  </c:pt>
                  <c:pt idx="926">
                    <c:v>16</c:v>
                  </c:pt>
                  <c:pt idx="927">
                    <c:v>17</c:v>
                  </c:pt>
                  <c:pt idx="928">
                    <c:v>18</c:v>
                  </c:pt>
                  <c:pt idx="929">
                    <c:v>19</c:v>
                  </c:pt>
                  <c:pt idx="930">
                    <c:v>20</c:v>
                  </c:pt>
                  <c:pt idx="931">
                    <c:v>21</c:v>
                  </c:pt>
                  <c:pt idx="932">
                    <c:v>22</c:v>
                  </c:pt>
                  <c:pt idx="933">
                    <c:v>23</c:v>
                  </c:pt>
                  <c:pt idx="934">
                    <c:v>24</c:v>
                  </c:pt>
                  <c:pt idx="935">
                    <c:v>25</c:v>
                  </c:pt>
                  <c:pt idx="936">
                    <c:v>26</c:v>
                  </c:pt>
                  <c:pt idx="937">
                    <c:v>27</c:v>
                  </c:pt>
                  <c:pt idx="938">
                    <c:v>28</c:v>
                  </c:pt>
                  <c:pt idx="939">
                    <c:v>29</c:v>
                  </c:pt>
                  <c:pt idx="940">
                    <c:v>30</c:v>
                  </c:pt>
                  <c:pt idx="941">
                    <c:v>31</c:v>
                  </c:pt>
                  <c:pt idx="942">
                    <c:v>1</c:v>
                  </c:pt>
                  <c:pt idx="943">
                    <c:v>2</c:v>
                  </c:pt>
                  <c:pt idx="944">
                    <c:v>3</c:v>
                  </c:pt>
                  <c:pt idx="945">
                    <c:v>4</c:v>
                  </c:pt>
                  <c:pt idx="946">
                    <c:v>5</c:v>
                  </c:pt>
                  <c:pt idx="947">
                    <c:v>6</c:v>
                  </c:pt>
                  <c:pt idx="948">
                    <c:v>7</c:v>
                  </c:pt>
                  <c:pt idx="949">
                    <c:v>8</c:v>
                  </c:pt>
                  <c:pt idx="950">
                    <c:v>9</c:v>
                  </c:pt>
                  <c:pt idx="951">
                    <c:v>10</c:v>
                  </c:pt>
                  <c:pt idx="952">
                    <c:v>11</c:v>
                  </c:pt>
                  <c:pt idx="953">
                    <c:v>12</c:v>
                  </c:pt>
                  <c:pt idx="954">
                    <c:v>13</c:v>
                  </c:pt>
                  <c:pt idx="955">
                    <c:v>14</c:v>
                  </c:pt>
                  <c:pt idx="956">
                    <c:v>15</c:v>
                  </c:pt>
                  <c:pt idx="957">
                    <c:v>16</c:v>
                  </c:pt>
                  <c:pt idx="958">
                    <c:v>17</c:v>
                  </c:pt>
                  <c:pt idx="959">
                    <c:v>18</c:v>
                  </c:pt>
                  <c:pt idx="960">
                    <c:v>19</c:v>
                  </c:pt>
                  <c:pt idx="961">
                    <c:v>20</c:v>
                  </c:pt>
                  <c:pt idx="962">
                    <c:v>21</c:v>
                  </c:pt>
                  <c:pt idx="963">
                    <c:v>22</c:v>
                  </c:pt>
                  <c:pt idx="964">
                    <c:v>23</c:v>
                  </c:pt>
                  <c:pt idx="965">
                    <c:v>24</c:v>
                  </c:pt>
                  <c:pt idx="966">
                    <c:v>25</c:v>
                  </c:pt>
                  <c:pt idx="967">
                    <c:v>26</c:v>
                  </c:pt>
                  <c:pt idx="968">
                    <c:v>27</c:v>
                  </c:pt>
                  <c:pt idx="969">
                    <c:v>28</c:v>
                  </c:pt>
                  <c:pt idx="970">
                    <c:v>29</c:v>
                  </c:pt>
                  <c:pt idx="971">
                    <c:v>30</c:v>
                  </c:pt>
                  <c:pt idx="972">
                    <c:v>31</c:v>
                  </c:pt>
                  <c:pt idx="973">
                    <c:v>1</c:v>
                  </c:pt>
                  <c:pt idx="974">
                    <c:v>2</c:v>
                  </c:pt>
                  <c:pt idx="975">
                    <c:v>3</c:v>
                  </c:pt>
                  <c:pt idx="976">
                    <c:v>4</c:v>
                  </c:pt>
                  <c:pt idx="977">
                    <c:v>5</c:v>
                  </c:pt>
                  <c:pt idx="978">
                    <c:v>6</c:v>
                  </c:pt>
                  <c:pt idx="979">
                    <c:v>7</c:v>
                  </c:pt>
                </c:lvl>
                <c:lvl>
                  <c:pt idx="0">
                    <c:v>1</c:v>
                  </c:pt>
                  <c:pt idx="31">
                    <c:v>2</c:v>
                  </c:pt>
                  <c:pt idx="59">
                    <c:v>3</c:v>
                  </c:pt>
                  <c:pt idx="90">
                    <c:v>4</c:v>
                  </c:pt>
                  <c:pt idx="120">
                    <c:v>5</c:v>
                  </c:pt>
                  <c:pt idx="151">
                    <c:v>6</c:v>
                  </c:pt>
                  <c:pt idx="181">
                    <c:v>7</c:v>
                  </c:pt>
                  <c:pt idx="212">
                    <c:v>8</c:v>
                  </c:pt>
                  <c:pt idx="243">
                    <c:v>9</c:v>
                  </c:pt>
                  <c:pt idx="273">
                    <c:v>10</c:v>
                  </c:pt>
                  <c:pt idx="304">
                    <c:v>11</c:v>
                  </c:pt>
                  <c:pt idx="334">
                    <c:v>12</c:v>
                  </c:pt>
                  <c:pt idx="365">
                    <c:v>1</c:v>
                  </c:pt>
                  <c:pt idx="396">
                    <c:v>2</c:v>
                  </c:pt>
                  <c:pt idx="424">
                    <c:v>3</c:v>
                  </c:pt>
                  <c:pt idx="455">
                    <c:v>4</c:v>
                  </c:pt>
                  <c:pt idx="485">
                    <c:v>5</c:v>
                  </c:pt>
                  <c:pt idx="516">
                    <c:v>6</c:v>
                  </c:pt>
                  <c:pt idx="546">
                    <c:v>7</c:v>
                  </c:pt>
                  <c:pt idx="577">
                    <c:v>8</c:v>
                  </c:pt>
                  <c:pt idx="608">
                    <c:v>9</c:v>
                  </c:pt>
                  <c:pt idx="638">
                    <c:v>10</c:v>
                  </c:pt>
                  <c:pt idx="669">
                    <c:v>11</c:v>
                  </c:pt>
                  <c:pt idx="699">
                    <c:v>12</c:v>
                  </c:pt>
                  <c:pt idx="730">
                    <c:v>1</c:v>
                  </c:pt>
                  <c:pt idx="761">
                    <c:v>2</c:v>
                  </c:pt>
                  <c:pt idx="789">
                    <c:v>3</c:v>
                  </c:pt>
                  <c:pt idx="820">
                    <c:v>4</c:v>
                  </c:pt>
                  <c:pt idx="850">
                    <c:v>5</c:v>
                  </c:pt>
                  <c:pt idx="881">
                    <c:v>6</c:v>
                  </c:pt>
                  <c:pt idx="911">
                    <c:v>7</c:v>
                  </c:pt>
                  <c:pt idx="942">
                    <c:v>8</c:v>
                  </c:pt>
                  <c:pt idx="973">
                    <c:v>9</c:v>
                  </c:pt>
                </c:lvl>
                <c:lvl>
                  <c:pt idx="0">
                    <c:v>2002</c:v>
                  </c:pt>
                  <c:pt idx="365">
                    <c:v>2018</c:v>
                  </c:pt>
                  <c:pt idx="730">
                    <c:v>2023</c:v>
                  </c:pt>
                </c:lvl>
              </c:multiLvlStrCache>
            </c:multiLvlStrRef>
          </c:cat>
          <c:val>
            <c:numRef>
              <c:f>Tabelle1!$C$2:$C$1018</c:f>
              <c:numCache>
                <c:formatCode>General</c:formatCode>
                <c:ptCount val="980"/>
                <c:pt idx="365">
                  <c:v>7.78</c:v>
                </c:pt>
                <c:pt idx="366">
                  <c:v>7.78</c:v>
                </c:pt>
                <c:pt idx="367">
                  <c:v>7.8000000000000016</c:v>
                </c:pt>
                <c:pt idx="368">
                  <c:v>7.740000000000002</c:v>
                </c:pt>
                <c:pt idx="369">
                  <c:v>7.75</c:v>
                </c:pt>
                <c:pt idx="370">
                  <c:v>7.75</c:v>
                </c:pt>
                <c:pt idx="371">
                  <c:v>7.75</c:v>
                </c:pt>
                <c:pt idx="372">
                  <c:v>7.6200000000000019</c:v>
                </c:pt>
                <c:pt idx="373">
                  <c:v>7.75</c:v>
                </c:pt>
                <c:pt idx="374">
                  <c:v>7.8600000000000039</c:v>
                </c:pt>
                <c:pt idx="375">
                  <c:v>7.7899999999999991</c:v>
                </c:pt>
                <c:pt idx="376">
                  <c:v>7.8300000000000027</c:v>
                </c:pt>
                <c:pt idx="377">
                  <c:v>7.8300000000000027</c:v>
                </c:pt>
                <c:pt idx="378">
                  <c:v>7.8300000000000027</c:v>
                </c:pt>
                <c:pt idx="379">
                  <c:v>7.7700000000000005</c:v>
                </c:pt>
                <c:pt idx="380">
                  <c:v>8.0200000000000014</c:v>
                </c:pt>
                <c:pt idx="381">
                  <c:v>8.1500000000000039</c:v>
                </c:pt>
                <c:pt idx="382">
                  <c:v>8.4600000000000062</c:v>
                </c:pt>
                <c:pt idx="383">
                  <c:v>8.7299999999999986</c:v>
                </c:pt>
                <c:pt idx="384">
                  <c:v>8.7299999999999986</c:v>
                </c:pt>
                <c:pt idx="385">
                  <c:v>8.7299999999999986</c:v>
                </c:pt>
                <c:pt idx="386">
                  <c:v>8.7200000000000006</c:v>
                </c:pt>
                <c:pt idx="387">
                  <c:v>8.9799999999999986</c:v>
                </c:pt>
                <c:pt idx="388">
                  <c:v>9.4199999999999946</c:v>
                </c:pt>
                <c:pt idx="389">
                  <c:v>9.2100000000000062</c:v>
                </c:pt>
                <c:pt idx="390">
                  <c:v>9.06</c:v>
                </c:pt>
                <c:pt idx="391">
                  <c:v>9.06</c:v>
                </c:pt>
                <c:pt idx="392">
                  <c:v>9.06</c:v>
                </c:pt>
                <c:pt idx="393">
                  <c:v>8.9700000000000006</c:v>
                </c:pt>
                <c:pt idx="394">
                  <c:v>8.8600000000000048</c:v>
                </c:pt>
                <c:pt idx="395">
                  <c:v>9.25</c:v>
                </c:pt>
                <c:pt idx="396">
                  <c:v>9.2400000000000038</c:v>
                </c:pt>
                <c:pt idx="397">
                  <c:v>8.930000000000005</c:v>
                </c:pt>
                <c:pt idx="398">
                  <c:v>8.930000000000005</c:v>
                </c:pt>
                <c:pt idx="399">
                  <c:v>8.930000000000005</c:v>
                </c:pt>
                <c:pt idx="400">
                  <c:v>9.0500000000000025</c:v>
                </c:pt>
                <c:pt idx="401">
                  <c:v>8.7799999999999994</c:v>
                </c:pt>
                <c:pt idx="402">
                  <c:v>8.9700000000000006</c:v>
                </c:pt>
                <c:pt idx="403">
                  <c:v>9.0999999999999961</c:v>
                </c:pt>
                <c:pt idx="404">
                  <c:v>9.2100000000000062</c:v>
                </c:pt>
                <c:pt idx="405">
                  <c:v>9.2100000000000062</c:v>
                </c:pt>
                <c:pt idx="406">
                  <c:v>9.2100000000000062</c:v>
                </c:pt>
                <c:pt idx="407">
                  <c:v>9.4600000000000062</c:v>
                </c:pt>
                <c:pt idx="408">
                  <c:v>9.8700000000000028</c:v>
                </c:pt>
                <c:pt idx="409">
                  <c:v>9.5800000000000054</c:v>
                </c:pt>
                <c:pt idx="410">
                  <c:v>9.5200000000000031</c:v>
                </c:pt>
                <c:pt idx="411">
                  <c:v>9.5</c:v>
                </c:pt>
                <c:pt idx="412">
                  <c:v>9.5</c:v>
                </c:pt>
                <c:pt idx="413">
                  <c:v>9.5</c:v>
                </c:pt>
                <c:pt idx="414">
                  <c:v>9.8600000000000065</c:v>
                </c:pt>
                <c:pt idx="415">
                  <c:v>9.6999999999999957</c:v>
                </c:pt>
                <c:pt idx="416">
                  <c:v>9.5399999999999938</c:v>
                </c:pt>
                <c:pt idx="417">
                  <c:v>9.6999999999999957</c:v>
                </c:pt>
                <c:pt idx="418">
                  <c:v>9.7899999999999938</c:v>
                </c:pt>
                <c:pt idx="419">
                  <c:v>9.7899999999999938</c:v>
                </c:pt>
                <c:pt idx="420">
                  <c:v>9.7899999999999938</c:v>
                </c:pt>
                <c:pt idx="421">
                  <c:v>9.6100000000000048</c:v>
                </c:pt>
                <c:pt idx="422">
                  <c:v>10.129999999999997</c:v>
                </c:pt>
                <c:pt idx="423">
                  <c:v>10.080000000000005</c:v>
                </c:pt>
                <c:pt idx="424">
                  <c:v>9.9700000000000006</c:v>
                </c:pt>
                <c:pt idx="425">
                  <c:v>10.120000000000003</c:v>
                </c:pt>
                <c:pt idx="426">
                  <c:v>10.120000000000003</c:v>
                </c:pt>
                <c:pt idx="427">
                  <c:v>10.120000000000003</c:v>
                </c:pt>
                <c:pt idx="428">
                  <c:v>10.340000000000002</c:v>
                </c:pt>
                <c:pt idx="429">
                  <c:v>10.449999999999996</c:v>
                </c:pt>
                <c:pt idx="430">
                  <c:v>10.620000000000003</c:v>
                </c:pt>
                <c:pt idx="431">
                  <c:v>11.099999999999996</c:v>
                </c:pt>
                <c:pt idx="432">
                  <c:v>11.099999999999996</c:v>
                </c:pt>
                <c:pt idx="433">
                  <c:v>11.099999999999996</c:v>
                </c:pt>
                <c:pt idx="434">
                  <c:v>11.099999999999996</c:v>
                </c:pt>
                <c:pt idx="435">
                  <c:v>11.06</c:v>
                </c:pt>
                <c:pt idx="436">
                  <c:v>11.379999999999997</c:v>
                </c:pt>
                <c:pt idx="437">
                  <c:v>11.159999999999998</c:v>
                </c:pt>
                <c:pt idx="438">
                  <c:v>11.159999999999998</c:v>
                </c:pt>
                <c:pt idx="439">
                  <c:v>11.150000000000004</c:v>
                </c:pt>
                <c:pt idx="440">
                  <c:v>11.150000000000004</c:v>
                </c:pt>
                <c:pt idx="441">
                  <c:v>11.150000000000004</c:v>
                </c:pt>
                <c:pt idx="442">
                  <c:v>11.039999999999994</c:v>
                </c:pt>
                <c:pt idx="443">
                  <c:v>11.520000000000003</c:v>
                </c:pt>
                <c:pt idx="444">
                  <c:v>12.620000000000003</c:v>
                </c:pt>
                <c:pt idx="445">
                  <c:v>12.31</c:v>
                </c:pt>
                <c:pt idx="446">
                  <c:v>12.580000000000004</c:v>
                </c:pt>
                <c:pt idx="447">
                  <c:v>12.580000000000004</c:v>
                </c:pt>
                <c:pt idx="448">
                  <c:v>12.580000000000004</c:v>
                </c:pt>
                <c:pt idx="449">
                  <c:v>12.96</c:v>
                </c:pt>
                <c:pt idx="450">
                  <c:v>13.649999999999999</c:v>
                </c:pt>
                <c:pt idx="451">
                  <c:v>12.96</c:v>
                </c:pt>
                <c:pt idx="452">
                  <c:v>13.259999999999996</c:v>
                </c:pt>
                <c:pt idx="453">
                  <c:v>13.259999999999996</c:v>
                </c:pt>
                <c:pt idx="454">
                  <c:v>13.259999999999996</c:v>
                </c:pt>
                <c:pt idx="455">
                  <c:v>13.259999999999996</c:v>
                </c:pt>
                <c:pt idx="456">
                  <c:v>0</c:v>
                </c:pt>
                <c:pt idx="457">
                  <c:v>13.270000000000001</c:v>
                </c:pt>
                <c:pt idx="458">
                  <c:v>13.020000000000001</c:v>
                </c:pt>
                <c:pt idx="459">
                  <c:v>12.610000000000007</c:v>
                </c:pt>
                <c:pt idx="460">
                  <c:v>12.96</c:v>
                </c:pt>
                <c:pt idx="461">
                  <c:v>12.96</c:v>
                </c:pt>
                <c:pt idx="462">
                  <c:v>12.96</c:v>
                </c:pt>
                <c:pt idx="463">
                  <c:v>13.300000000000006</c:v>
                </c:pt>
                <c:pt idx="464">
                  <c:v>13.339999999999996</c:v>
                </c:pt>
                <c:pt idx="465">
                  <c:v>13.389999999999993</c:v>
                </c:pt>
                <c:pt idx="466">
                  <c:v>13.550000000000006</c:v>
                </c:pt>
                <c:pt idx="467">
                  <c:v>13.899999999999999</c:v>
                </c:pt>
                <c:pt idx="468">
                  <c:v>13.899999999999999</c:v>
                </c:pt>
                <c:pt idx="469">
                  <c:v>13.899999999999999</c:v>
                </c:pt>
                <c:pt idx="470">
                  <c:v>13.949999999999994</c:v>
                </c:pt>
                <c:pt idx="471">
                  <c:v>13.699999999999994</c:v>
                </c:pt>
                <c:pt idx="472">
                  <c:v>13.850000000000001</c:v>
                </c:pt>
                <c:pt idx="473">
                  <c:v>13.419999999999996</c:v>
                </c:pt>
                <c:pt idx="474">
                  <c:v>13.009999999999996</c:v>
                </c:pt>
                <c:pt idx="475">
                  <c:v>13.009999999999996</c:v>
                </c:pt>
                <c:pt idx="476">
                  <c:v>13.009999999999996</c:v>
                </c:pt>
                <c:pt idx="477">
                  <c:v>12.850000000000001</c:v>
                </c:pt>
                <c:pt idx="478">
                  <c:v>13.180000000000005</c:v>
                </c:pt>
                <c:pt idx="479">
                  <c:v>13.21</c:v>
                </c:pt>
                <c:pt idx="480">
                  <c:v>13.44</c:v>
                </c:pt>
                <c:pt idx="481">
                  <c:v>13.509999999999996</c:v>
                </c:pt>
                <c:pt idx="482">
                  <c:v>13.509999999999996</c:v>
                </c:pt>
                <c:pt idx="483">
                  <c:v>13.509999999999996</c:v>
                </c:pt>
                <c:pt idx="484">
                  <c:v>13.54</c:v>
                </c:pt>
                <c:pt idx="485">
                  <c:v>13.339999999999996</c:v>
                </c:pt>
                <c:pt idx="486">
                  <c:v>13.020000000000001</c:v>
                </c:pt>
                <c:pt idx="487">
                  <c:v>12.919999999999996</c:v>
                </c:pt>
                <c:pt idx="488">
                  <c:v>12.979999999999999</c:v>
                </c:pt>
                <c:pt idx="489">
                  <c:v>12.979999999999999</c:v>
                </c:pt>
                <c:pt idx="490">
                  <c:v>12.979999999999999</c:v>
                </c:pt>
                <c:pt idx="491">
                  <c:v>13.58</c:v>
                </c:pt>
                <c:pt idx="492">
                  <c:v>13.56</c:v>
                </c:pt>
                <c:pt idx="493">
                  <c:v>13.96</c:v>
                </c:pt>
                <c:pt idx="494">
                  <c:v>14.569999999999995</c:v>
                </c:pt>
                <c:pt idx="495">
                  <c:v>14.600000000000003</c:v>
                </c:pt>
                <c:pt idx="496">
                  <c:v>14.600000000000003</c:v>
                </c:pt>
                <c:pt idx="497">
                  <c:v>14.600000000000003</c:v>
                </c:pt>
                <c:pt idx="498">
                  <c:v>14.600000000000003</c:v>
                </c:pt>
                <c:pt idx="499">
                  <c:v>14.290000000000001</c:v>
                </c:pt>
                <c:pt idx="500">
                  <c:v>15.149999999999997</c:v>
                </c:pt>
                <c:pt idx="501">
                  <c:v>15.269999999999996</c:v>
                </c:pt>
                <c:pt idx="502">
                  <c:v>15.220000000000008</c:v>
                </c:pt>
                <c:pt idx="503">
                  <c:v>15.220000000000008</c:v>
                </c:pt>
                <c:pt idx="504">
                  <c:v>15.220000000000008</c:v>
                </c:pt>
                <c:pt idx="505">
                  <c:v>15.529999999999992</c:v>
                </c:pt>
                <c:pt idx="506">
                  <c:v>15.920000000000002</c:v>
                </c:pt>
                <c:pt idx="507">
                  <c:v>15.980000000000004</c:v>
                </c:pt>
                <c:pt idx="508">
                  <c:v>16.259999999999994</c:v>
                </c:pt>
                <c:pt idx="509">
                  <c:v>15.970000000000008</c:v>
                </c:pt>
                <c:pt idx="510">
                  <c:v>15.970000000000008</c:v>
                </c:pt>
                <c:pt idx="511">
                  <c:v>15.970000000000008</c:v>
                </c:pt>
                <c:pt idx="512">
                  <c:v>16.27999999999999</c:v>
                </c:pt>
                <c:pt idx="513">
                  <c:v>16.269999999999996</c:v>
                </c:pt>
                <c:pt idx="514">
                  <c:v>15.81</c:v>
                </c:pt>
                <c:pt idx="515">
                  <c:v>14.879999999999997</c:v>
                </c:pt>
                <c:pt idx="516">
                  <c:v>15.259999999999996</c:v>
                </c:pt>
                <c:pt idx="517">
                  <c:v>15.259999999999996</c:v>
                </c:pt>
                <c:pt idx="518">
                  <c:v>15.259999999999996</c:v>
                </c:pt>
                <c:pt idx="519">
                  <c:v>16.100000000000005</c:v>
                </c:pt>
                <c:pt idx="520">
                  <c:v>15.740000000000004</c:v>
                </c:pt>
                <c:pt idx="521">
                  <c:v>15.899999999999997</c:v>
                </c:pt>
                <c:pt idx="522">
                  <c:v>15.970000000000008</c:v>
                </c:pt>
                <c:pt idx="523">
                  <c:v>15.790000000000001</c:v>
                </c:pt>
                <c:pt idx="524">
                  <c:v>15.790000000000001</c:v>
                </c:pt>
                <c:pt idx="525">
                  <c:v>15.790000000000001</c:v>
                </c:pt>
                <c:pt idx="526">
                  <c:v>15.459999999999999</c:v>
                </c:pt>
                <c:pt idx="527">
                  <c:v>15.120000000000003</c:v>
                </c:pt>
                <c:pt idx="528">
                  <c:v>15.279999999999992</c:v>
                </c:pt>
                <c:pt idx="529">
                  <c:v>14.879999999999997</c:v>
                </c:pt>
                <c:pt idx="530">
                  <c:v>14.5</c:v>
                </c:pt>
                <c:pt idx="531">
                  <c:v>14.5</c:v>
                </c:pt>
                <c:pt idx="532">
                  <c:v>14.5</c:v>
                </c:pt>
                <c:pt idx="533">
                  <c:v>14.569999999999995</c:v>
                </c:pt>
                <c:pt idx="534">
                  <c:v>14.21</c:v>
                </c:pt>
                <c:pt idx="535">
                  <c:v>14.470000000000008</c:v>
                </c:pt>
                <c:pt idx="536">
                  <c:v>14.779999999999992</c:v>
                </c:pt>
                <c:pt idx="537">
                  <c:v>15.089999999999995</c:v>
                </c:pt>
                <c:pt idx="538">
                  <c:v>15.089999999999995</c:v>
                </c:pt>
                <c:pt idx="539">
                  <c:v>15.089999999999995</c:v>
                </c:pt>
                <c:pt idx="540">
                  <c:v>14.990000000000004</c:v>
                </c:pt>
                <c:pt idx="541">
                  <c:v>14.990000000000004</c:v>
                </c:pt>
                <c:pt idx="542">
                  <c:v>15.209999999999999</c:v>
                </c:pt>
                <c:pt idx="543">
                  <c:v>14.959999999999999</c:v>
                </c:pt>
                <c:pt idx="544">
                  <c:v>14.949999999999994</c:v>
                </c:pt>
                <c:pt idx="545">
                  <c:v>14.949999999999994</c:v>
                </c:pt>
                <c:pt idx="546">
                  <c:v>14.949999999999994</c:v>
                </c:pt>
                <c:pt idx="547">
                  <c:v>15.029999999999992</c:v>
                </c:pt>
                <c:pt idx="548">
                  <c:v>15.06</c:v>
                </c:pt>
                <c:pt idx="549">
                  <c:v>15.480000000000004</c:v>
                </c:pt>
                <c:pt idx="550">
                  <c:v>15.639999999999992</c:v>
                </c:pt>
                <c:pt idx="551">
                  <c:v>15.660000000000005</c:v>
                </c:pt>
                <c:pt idx="552">
                  <c:v>15.660000000000005</c:v>
                </c:pt>
                <c:pt idx="553">
                  <c:v>15.660000000000005</c:v>
                </c:pt>
                <c:pt idx="554">
                  <c:v>15.959999999999999</c:v>
                </c:pt>
                <c:pt idx="555">
                  <c:v>16.009999999999994</c:v>
                </c:pt>
                <c:pt idx="556">
                  <c:v>16.27999999999999</c:v>
                </c:pt>
                <c:pt idx="557">
                  <c:v>16.050000000000008</c:v>
                </c:pt>
                <c:pt idx="558">
                  <c:v>16.019999999999996</c:v>
                </c:pt>
                <c:pt idx="559">
                  <c:v>16.019999999999996</c:v>
                </c:pt>
                <c:pt idx="560">
                  <c:v>16.019999999999996</c:v>
                </c:pt>
                <c:pt idx="561">
                  <c:v>15.889999999999992</c:v>
                </c:pt>
                <c:pt idx="562">
                  <c:v>16.040000000000003</c:v>
                </c:pt>
                <c:pt idx="563">
                  <c:v>16.37</c:v>
                </c:pt>
                <c:pt idx="564">
                  <c:v>16.819999999999997</c:v>
                </c:pt>
                <c:pt idx="565">
                  <c:v>17.02999999999999</c:v>
                </c:pt>
                <c:pt idx="566">
                  <c:v>17.02999999999999</c:v>
                </c:pt>
                <c:pt idx="567">
                  <c:v>17.02999999999999</c:v>
                </c:pt>
                <c:pt idx="568">
                  <c:v>17.350000000000005</c:v>
                </c:pt>
                <c:pt idx="569">
                  <c:v>17.059999999999999</c:v>
                </c:pt>
                <c:pt idx="570">
                  <c:v>17.300000000000008</c:v>
                </c:pt>
                <c:pt idx="571">
                  <c:v>17.25</c:v>
                </c:pt>
                <c:pt idx="572">
                  <c:v>17.079999999999988</c:v>
                </c:pt>
                <c:pt idx="573">
                  <c:v>17.079999999999988</c:v>
                </c:pt>
                <c:pt idx="574">
                  <c:v>17.079999999999988</c:v>
                </c:pt>
                <c:pt idx="575">
                  <c:v>17</c:v>
                </c:pt>
                <c:pt idx="576">
                  <c:v>17.36000000000001</c:v>
                </c:pt>
                <c:pt idx="577">
                  <c:v>17.740000000000006</c:v>
                </c:pt>
                <c:pt idx="578">
                  <c:v>17.589999999999993</c:v>
                </c:pt>
                <c:pt idx="579">
                  <c:v>17.63</c:v>
                </c:pt>
                <c:pt idx="580">
                  <c:v>17.63</c:v>
                </c:pt>
                <c:pt idx="581">
                  <c:v>17.63</c:v>
                </c:pt>
                <c:pt idx="582">
                  <c:v>17.52999999999999</c:v>
                </c:pt>
                <c:pt idx="583">
                  <c:v>17.47000000000001</c:v>
                </c:pt>
                <c:pt idx="584">
                  <c:v>17.36000000000001</c:v>
                </c:pt>
                <c:pt idx="585">
                  <c:v>17.559999999999999</c:v>
                </c:pt>
                <c:pt idx="586">
                  <c:v>17.850000000000005</c:v>
                </c:pt>
                <c:pt idx="587">
                  <c:v>17.850000000000005</c:v>
                </c:pt>
                <c:pt idx="588">
                  <c:v>17.850000000000005</c:v>
                </c:pt>
                <c:pt idx="589">
                  <c:v>18.019999999999996</c:v>
                </c:pt>
                <c:pt idx="590">
                  <c:v>18.12</c:v>
                </c:pt>
                <c:pt idx="591">
                  <c:v>18.050000000000008</c:v>
                </c:pt>
                <c:pt idx="592">
                  <c:v>17.949999999999992</c:v>
                </c:pt>
                <c:pt idx="593">
                  <c:v>18.100000000000005</c:v>
                </c:pt>
                <c:pt idx="594">
                  <c:v>18.100000000000005</c:v>
                </c:pt>
                <c:pt idx="595">
                  <c:v>18.100000000000005</c:v>
                </c:pt>
                <c:pt idx="596">
                  <c:v>18.449999999999992</c:v>
                </c:pt>
                <c:pt idx="597">
                  <c:v>19.290000000000006</c:v>
                </c:pt>
                <c:pt idx="598">
                  <c:v>19.779999999999987</c:v>
                </c:pt>
                <c:pt idx="599">
                  <c:v>20.36000000000001</c:v>
                </c:pt>
                <c:pt idx="600">
                  <c:v>20.649999999999991</c:v>
                </c:pt>
                <c:pt idx="601">
                  <c:v>20.649999999999991</c:v>
                </c:pt>
                <c:pt idx="602">
                  <c:v>20.649999999999991</c:v>
                </c:pt>
                <c:pt idx="603">
                  <c:v>21.279999999999987</c:v>
                </c:pt>
                <c:pt idx="604">
                  <c:v>20.649999999999991</c:v>
                </c:pt>
                <c:pt idx="605">
                  <c:v>21.019999999999992</c:v>
                </c:pt>
                <c:pt idx="606">
                  <c:v>21.13</c:v>
                </c:pt>
                <c:pt idx="607">
                  <c:v>21.06</c:v>
                </c:pt>
                <c:pt idx="608">
                  <c:v>21.06</c:v>
                </c:pt>
                <c:pt idx="609">
                  <c:v>21.06</c:v>
                </c:pt>
                <c:pt idx="610">
                  <c:v>20.12</c:v>
                </c:pt>
                <c:pt idx="611">
                  <c:v>20.13999999999999</c:v>
                </c:pt>
                <c:pt idx="612">
                  <c:v>20.339999999999989</c:v>
                </c:pt>
                <c:pt idx="613">
                  <c:v>21.44</c:v>
                </c:pt>
                <c:pt idx="614">
                  <c:v>23.19</c:v>
                </c:pt>
                <c:pt idx="615">
                  <c:v>23.19</c:v>
                </c:pt>
                <c:pt idx="616">
                  <c:v>23.19</c:v>
                </c:pt>
                <c:pt idx="617">
                  <c:v>25.190000000000008</c:v>
                </c:pt>
                <c:pt idx="618">
                  <c:v>24.13</c:v>
                </c:pt>
                <c:pt idx="619">
                  <c:v>22.920000000000005</c:v>
                </c:pt>
                <c:pt idx="620">
                  <c:v>18.87</c:v>
                </c:pt>
                <c:pt idx="621">
                  <c:v>19.940000000000001</c:v>
                </c:pt>
                <c:pt idx="622">
                  <c:v>19.940000000000001</c:v>
                </c:pt>
                <c:pt idx="623">
                  <c:v>19.940000000000001</c:v>
                </c:pt>
                <c:pt idx="624">
                  <c:v>20.899999999999991</c:v>
                </c:pt>
                <c:pt idx="625">
                  <c:v>20.190000000000001</c:v>
                </c:pt>
                <c:pt idx="626">
                  <c:v>21.430000000000003</c:v>
                </c:pt>
                <c:pt idx="627">
                  <c:v>21.980000000000004</c:v>
                </c:pt>
                <c:pt idx="628">
                  <c:v>22.079999999999988</c:v>
                </c:pt>
                <c:pt idx="629">
                  <c:v>22.079999999999988</c:v>
                </c:pt>
                <c:pt idx="630">
                  <c:v>22.079999999999988</c:v>
                </c:pt>
                <c:pt idx="631">
                  <c:v>22.37</c:v>
                </c:pt>
                <c:pt idx="632">
                  <c:v>21.19</c:v>
                </c:pt>
                <c:pt idx="633">
                  <c:v>20.180000000000003</c:v>
                </c:pt>
                <c:pt idx="634">
                  <c:v>20.769999999999992</c:v>
                </c:pt>
                <c:pt idx="635">
                  <c:v>21.160000000000011</c:v>
                </c:pt>
                <c:pt idx="636">
                  <c:v>21.160000000000011</c:v>
                </c:pt>
                <c:pt idx="637">
                  <c:v>21.160000000000011</c:v>
                </c:pt>
                <c:pt idx="638">
                  <c:v>21.319999999999997</c:v>
                </c:pt>
                <c:pt idx="639">
                  <c:v>20.949999999999992</c:v>
                </c:pt>
                <c:pt idx="640">
                  <c:v>21.13999999999999</c:v>
                </c:pt>
                <c:pt idx="641">
                  <c:v>21.300000000000008</c:v>
                </c:pt>
                <c:pt idx="642">
                  <c:v>22.11000000000001</c:v>
                </c:pt>
                <c:pt idx="643">
                  <c:v>22.11000000000001</c:v>
                </c:pt>
                <c:pt idx="644">
                  <c:v>22.11000000000001</c:v>
                </c:pt>
                <c:pt idx="645">
                  <c:v>21.88999999999999</c:v>
                </c:pt>
                <c:pt idx="646">
                  <c:v>20.75</c:v>
                </c:pt>
                <c:pt idx="647">
                  <c:v>19.430000000000003</c:v>
                </c:pt>
                <c:pt idx="648">
                  <c:v>19.850000000000009</c:v>
                </c:pt>
                <c:pt idx="649">
                  <c:v>20.350000000000009</c:v>
                </c:pt>
                <c:pt idx="650">
                  <c:v>20.350000000000009</c:v>
                </c:pt>
                <c:pt idx="651">
                  <c:v>20.350000000000009</c:v>
                </c:pt>
                <c:pt idx="652">
                  <c:v>18.569999999999997</c:v>
                </c:pt>
                <c:pt idx="653">
                  <c:v>19.27999999999999</c:v>
                </c:pt>
                <c:pt idx="654">
                  <c:v>19.259999999999994</c:v>
                </c:pt>
                <c:pt idx="655">
                  <c:v>19.730000000000008</c:v>
                </c:pt>
                <c:pt idx="656">
                  <c:v>19.699999999999992</c:v>
                </c:pt>
                <c:pt idx="657">
                  <c:v>19.699999999999992</c:v>
                </c:pt>
                <c:pt idx="658">
                  <c:v>19.699999999999992</c:v>
                </c:pt>
                <c:pt idx="659">
                  <c:v>19</c:v>
                </c:pt>
                <c:pt idx="660">
                  <c:v>19.230000000000008</c:v>
                </c:pt>
                <c:pt idx="661">
                  <c:v>19.61000000000001</c:v>
                </c:pt>
                <c:pt idx="662">
                  <c:v>19.079999999999988</c:v>
                </c:pt>
                <c:pt idx="663">
                  <c:v>18.27999999999999</c:v>
                </c:pt>
                <c:pt idx="664">
                  <c:v>18.27999999999999</c:v>
                </c:pt>
                <c:pt idx="665">
                  <c:v>18.27999999999999</c:v>
                </c:pt>
                <c:pt idx="666">
                  <c:v>16.680000000000003</c:v>
                </c:pt>
                <c:pt idx="667">
                  <c:v>16.019999999999996</c:v>
                </c:pt>
                <c:pt idx="668">
                  <c:v>16.36000000000001</c:v>
                </c:pt>
                <c:pt idx="669">
                  <c:v>15.620000000000003</c:v>
                </c:pt>
                <c:pt idx="670">
                  <c:v>17.079999999999988</c:v>
                </c:pt>
                <c:pt idx="671">
                  <c:v>17.079999999999988</c:v>
                </c:pt>
                <c:pt idx="672">
                  <c:v>17.079999999999988</c:v>
                </c:pt>
                <c:pt idx="673">
                  <c:v>17.230000000000004</c:v>
                </c:pt>
                <c:pt idx="674">
                  <c:v>17.569999999999997</c:v>
                </c:pt>
                <c:pt idx="675">
                  <c:v>18.62</c:v>
                </c:pt>
                <c:pt idx="676">
                  <c:v>19.559999999999999</c:v>
                </c:pt>
                <c:pt idx="677">
                  <c:v>19.5</c:v>
                </c:pt>
                <c:pt idx="678">
                  <c:v>19.5</c:v>
                </c:pt>
                <c:pt idx="679">
                  <c:v>19.5</c:v>
                </c:pt>
                <c:pt idx="680">
                  <c:v>20.5</c:v>
                </c:pt>
                <c:pt idx="681">
                  <c:v>20.13999999999999</c:v>
                </c:pt>
                <c:pt idx="682">
                  <c:v>19.740000000000006</c:v>
                </c:pt>
                <c:pt idx="683">
                  <c:v>19</c:v>
                </c:pt>
                <c:pt idx="684">
                  <c:v>19.11000000000001</c:v>
                </c:pt>
                <c:pt idx="685">
                  <c:v>19.11000000000001</c:v>
                </c:pt>
                <c:pt idx="686">
                  <c:v>19.11000000000001</c:v>
                </c:pt>
                <c:pt idx="687">
                  <c:v>18.930000000000003</c:v>
                </c:pt>
                <c:pt idx="688">
                  <c:v>19.459999999999994</c:v>
                </c:pt>
                <c:pt idx="689">
                  <c:v>20.490000000000006</c:v>
                </c:pt>
                <c:pt idx="690">
                  <c:v>20.920000000000012</c:v>
                </c:pt>
                <c:pt idx="691">
                  <c:v>20.209999999999994</c:v>
                </c:pt>
                <c:pt idx="692">
                  <c:v>20.209999999999994</c:v>
                </c:pt>
                <c:pt idx="693">
                  <c:v>20.209999999999994</c:v>
                </c:pt>
                <c:pt idx="694">
                  <c:v>19.829999999999988</c:v>
                </c:pt>
                <c:pt idx="695">
                  <c:v>19.600000000000009</c:v>
                </c:pt>
                <c:pt idx="696">
                  <c:v>19.290000000000006</c:v>
                </c:pt>
                <c:pt idx="697">
                  <c:v>20.019999999999992</c:v>
                </c:pt>
                <c:pt idx="698">
                  <c:v>20.5</c:v>
                </c:pt>
                <c:pt idx="699">
                  <c:v>20.5</c:v>
                </c:pt>
                <c:pt idx="700">
                  <c:v>20.5</c:v>
                </c:pt>
                <c:pt idx="701">
                  <c:v>20.63</c:v>
                </c:pt>
                <c:pt idx="702">
                  <c:v>20.730000000000008</c:v>
                </c:pt>
                <c:pt idx="703">
                  <c:v>19.670000000000012</c:v>
                </c:pt>
                <c:pt idx="704">
                  <c:v>19.990000000000006</c:v>
                </c:pt>
                <c:pt idx="705">
                  <c:v>20.290000000000006</c:v>
                </c:pt>
                <c:pt idx="706">
                  <c:v>20.290000000000006</c:v>
                </c:pt>
                <c:pt idx="707">
                  <c:v>20.290000000000006</c:v>
                </c:pt>
                <c:pt idx="708">
                  <c:v>20.86000000000001</c:v>
                </c:pt>
                <c:pt idx="709">
                  <c:v>20.160000000000011</c:v>
                </c:pt>
                <c:pt idx="710">
                  <c:v>21.470000000000013</c:v>
                </c:pt>
                <c:pt idx="711">
                  <c:v>22.319999999999997</c:v>
                </c:pt>
                <c:pt idx="712">
                  <c:v>23.37</c:v>
                </c:pt>
                <c:pt idx="713">
                  <c:v>23.37</c:v>
                </c:pt>
                <c:pt idx="714">
                  <c:v>23.37</c:v>
                </c:pt>
                <c:pt idx="715">
                  <c:v>24.259999999999994</c:v>
                </c:pt>
                <c:pt idx="716">
                  <c:v>24.029999999999987</c:v>
                </c:pt>
                <c:pt idx="717">
                  <c:v>24.320000000000004</c:v>
                </c:pt>
                <c:pt idx="718">
                  <c:v>24.170000000000005</c:v>
                </c:pt>
                <c:pt idx="719">
                  <c:v>24.600000000000009</c:v>
                </c:pt>
                <c:pt idx="720">
                  <c:v>24.600000000000009</c:v>
                </c:pt>
                <c:pt idx="721">
                  <c:v>24.600000000000009</c:v>
                </c:pt>
                <c:pt idx="722">
                  <c:v>24.839999999999993</c:v>
                </c:pt>
                <c:pt idx="723">
                  <c:v>24.839999999999993</c:v>
                </c:pt>
                <c:pt idx="724">
                  <c:v>24.839999999999993</c:v>
                </c:pt>
                <c:pt idx="725">
                  <c:v>24.67</c:v>
                </c:pt>
                <c:pt idx="726">
                  <c:v>24.63999999999999</c:v>
                </c:pt>
                <c:pt idx="727">
                  <c:v>24.63999999999999</c:v>
                </c:pt>
                <c:pt idx="728">
                  <c:v>24.63999999999999</c:v>
                </c:pt>
                <c:pt idx="729">
                  <c:v>24.67</c:v>
                </c:pt>
                <c:pt idx="730">
                  <c:v>81.069999999999951</c:v>
                </c:pt>
                <c:pt idx="731">
                  <c:v>83.400000000000034</c:v>
                </c:pt>
                <c:pt idx="732">
                  <c:v>80.720000000000013</c:v>
                </c:pt>
                <c:pt idx="733">
                  <c:v>75.089999999999975</c:v>
                </c:pt>
                <c:pt idx="734">
                  <c:v>76.210000000000022</c:v>
                </c:pt>
                <c:pt idx="735">
                  <c:v>74.75</c:v>
                </c:pt>
                <c:pt idx="736">
                  <c:v>74.75</c:v>
                </c:pt>
                <c:pt idx="737">
                  <c:v>74.75</c:v>
                </c:pt>
                <c:pt idx="738">
                  <c:v>78.75</c:v>
                </c:pt>
                <c:pt idx="739">
                  <c:v>77.75</c:v>
                </c:pt>
                <c:pt idx="740">
                  <c:v>76.17000000000003</c:v>
                </c:pt>
                <c:pt idx="741">
                  <c:v>77.410000000000025</c:v>
                </c:pt>
                <c:pt idx="742">
                  <c:v>77.049999999999969</c:v>
                </c:pt>
                <c:pt idx="743">
                  <c:v>77.049999999999969</c:v>
                </c:pt>
                <c:pt idx="744">
                  <c:v>77.049999999999969</c:v>
                </c:pt>
                <c:pt idx="745">
                  <c:v>74.789999999999978</c:v>
                </c:pt>
                <c:pt idx="746">
                  <c:v>76.789999999999978</c:v>
                </c:pt>
                <c:pt idx="747">
                  <c:v>80.48</c:v>
                </c:pt>
                <c:pt idx="748">
                  <c:v>81.099999999999966</c:v>
                </c:pt>
                <c:pt idx="749">
                  <c:v>82.279999999999987</c:v>
                </c:pt>
                <c:pt idx="750">
                  <c:v>82.279999999999987</c:v>
                </c:pt>
                <c:pt idx="751">
                  <c:v>82.279999999999987</c:v>
                </c:pt>
                <c:pt idx="752">
                  <c:v>82.359999999999957</c:v>
                </c:pt>
                <c:pt idx="753">
                  <c:v>78.869999999999948</c:v>
                </c:pt>
                <c:pt idx="754">
                  <c:v>81.430000000000049</c:v>
                </c:pt>
                <c:pt idx="755">
                  <c:v>86.430000000000049</c:v>
                </c:pt>
                <c:pt idx="756">
                  <c:v>86.140000000000043</c:v>
                </c:pt>
                <c:pt idx="757">
                  <c:v>86.140000000000043</c:v>
                </c:pt>
                <c:pt idx="758">
                  <c:v>86.140000000000043</c:v>
                </c:pt>
                <c:pt idx="759">
                  <c:v>86.529999999999987</c:v>
                </c:pt>
                <c:pt idx="760">
                  <c:v>90.049999999999969</c:v>
                </c:pt>
                <c:pt idx="761">
                  <c:v>92.380000000000052</c:v>
                </c:pt>
                <c:pt idx="762">
                  <c:v>89.98</c:v>
                </c:pt>
                <c:pt idx="763">
                  <c:v>90.24</c:v>
                </c:pt>
                <c:pt idx="764">
                  <c:v>90.24</c:v>
                </c:pt>
                <c:pt idx="765">
                  <c:v>90.24</c:v>
                </c:pt>
                <c:pt idx="766">
                  <c:v>87.869999999999948</c:v>
                </c:pt>
                <c:pt idx="767">
                  <c:v>87.319999999999951</c:v>
                </c:pt>
                <c:pt idx="768">
                  <c:v>87.30999999999996</c:v>
                </c:pt>
                <c:pt idx="769">
                  <c:v>88.01</c:v>
                </c:pt>
                <c:pt idx="770">
                  <c:v>90.02</c:v>
                </c:pt>
                <c:pt idx="771">
                  <c:v>90.02</c:v>
                </c:pt>
                <c:pt idx="772">
                  <c:v>90.02</c:v>
                </c:pt>
                <c:pt idx="773">
                  <c:v>89.220000000000013</c:v>
                </c:pt>
                <c:pt idx="774">
                  <c:v>89.069999999999979</c:v>
                </c:pt>
                <c:pt idx="775">
                  <c:v>91.289999999999978</c:v>
                </c:pt>
                <c:pt idx="776">
                  <c:v>94.400000000000034</c:v>
                </c:pt>
                <c:pt idx="777">
                  <c:v>93.130000000000052</c:v>
                </c:pt>
                <c:pt idx="778">
                  <c:v>93.130000000000052</c:v>
                </c:pt>
                <c:pt idx="779">
                  <c:v>93.130000000000052</c:v>
                </c:pt>
                <c:pt idx="780">
                  <c:v>95.160000000000011</c:v>
                </c:pt>
                <c:pt idx="781">
                  <c:v>97.07999999999997</c:v>
                </c:pt>
                <c:pt idx="782">
                  <c:v>93.57999999999997</c:v>
                </c:pt>
                <c:pt idx="783">
                  <c:v>94.339999999999989</c:v>
                </c:pt>
                <c:pt idx="784">
                  <c:v>94.099999999999966</c:v>
                </c:pt>
                <c:pt idx="785">
                  <c:v>94.099999999999966</c:v>
                </c:pt>
                <c:pt idx="786">
                  <c:v>94.099999999999966</c:v>
                </c:pt>
                <c:pt idx="787">
                  <c:v>96.849999999999966</c:v>
                </c:pt>
                <c:pt idx="788">
                  <c:v>96.57999999999997</c:v>
                </c:pt>
                <c:pt idx="789">
                  <c:v>93.719999999999985</c:v>
                </c:pt>
                <c:pt idx="790">
                  <c:v>90.23</c:v>
                </c:pt>
                <c:pt idx="791">
                  <c:v>89.069999999999979</c:v>
                </c:pt>
                <c:pt idx="792">
                  <c:v>89.069999999999979</c:v>
                </c:pt>
                <c:pt idx="793">
                  <c:v>89.069999999999979</c:v>
                </c:pt>
                <c:pt idx="794">
                  <c:v>89.900000000000034</c:v>
                </c:pt>
                <c:pt idx="795">
                  <c:v>92.589999999999975</c:v>
                </c:pt>
                <c:pt idx="796">
                  <c:v>94.7</c:v>
                </c:pt>
                <c:pt idx="797">
                  <c:v>95.30999999999996</c:v>
                </c:pt>
                <c:pt idx="798">
                  <c:v>96.719999999999985</c:v>
                </c:pt>
                <c:pt idx="799">
                  <c:v>96.719999999999985</c:v>
                </c:pt>
                <c:pt idx="800">
                  <c:v>96.719999999999985</c:v>
                </c:pt>
                <c:pt idx="801">
                  <c:v>94.260000000000034</c:v>
                </c:pt>
                <c:pt idx="802">
                  <c:v>89.799999999999969</c:v>
                </c:pt>
                <c:pt idx="803">
                  <c:v>86.599999999999966</c:v>
                </c:pt>
                <c:pt idx="804">
                  <c:v>84.430000000000049</c:v>
                </c:pt>
                <c:pt idx="805">
                  <c:v>84.57999999999997</c:v>
                </c:pt>
                <c:pt idx="806">
                  <c:v>84.57999999999997</c:v>
                </c:pt>
                <c:pt idx="807">
                  <c:v>84.57999999999997</c:v>
                </c:pt>
                <c:pt idx="808">
                  <c:v>85.109999999999957</c:v>
                </c:pt>
                <c:pt idx="809">
                  <c:v>86.880000000000052</c:v>
                </c:pt>
                <c:pt idx="810">
                  <c:v>86.77</c:v>
                </c:pt>
                <c:pt idx="811">
                  <c:v>89.69000000000004</c:v>
                </c:pt>
                <c:pt idx="812">
                  <c:v>85.099999999999966</c:v>
                </c:pt>
                <c:pt idx="813">
                  <c:v>85.099999999999966</c:v>
                </c:pt>
                <c:pt idx="814">
                  <c:v>85.099999999999966</c:v>
                </c:pt>
                <c:pt idx="815">
                  <c:v>84.77</c:v>
                </c:pt>
                <c:pt idx="816">
                  <c:v>86.880000000000052</c:v>
                </c:pt>
                <c:pt idx="817">
                  <c:v>87.80999999999996</c:v>
                </c:pt>
                <c:pt idx="818">
                  <c:v>88.5</c:v>
                </c:pt>
                <c:pt idx="819">
                  <c:v>89.48</c:v>
                </c:pt>
                <c:pt idx="820">
                  <c:v>89.48</c:v>
                </c:pt>
                <c:pt idx="821">
                  <c:v>89.48</c:v>
                </c:pt>
                <c:pt idx="822">
                  <c:v>93.239999999999966</c:v>
                </c:pt>
                <c:pt idx="823">
                  <c:v>92.460000000000022</c:v>
                </c:pt>
                <c:pt idx="824">
                  <c:v>94.130000000000052</c:v>
                </c:pt>
                <c:pt idx="825">
                  <c:v>94.150000000000034</c:v>
                </c:pt>
                <c:pt idx="826">
                  <c:v>94.150000000000034</c:v>
                </c:pt>
                <c:pt idx="827">
                  <c:v>94.150000000000034</c:v>
                </c:pt>
                <c:pt idx="828">
                  <c:v>94.150000000000034</c:v>
                </c:pt>
                <c:pt idx="829">
                  <c:v>0</c:v>
                </c:pt>
                <c:pt idx="830">
                  <c:v>94.859999999999971</c:v>
                </c:pt>
                <c:pt idx="831">
                  <c:v>93.390000000000029</c:v>
                </c:pt>
                <c:pt idx="832">
                  <c:v>91.950000000000031</c:v>
                </c:pt>
                <c:pt idx="833">
                  <c:v>91.380000000000052</c:v>
                </c:pt>
                <c:pt idx="834">
                  <c:v>91.380000000000052</c:v>
                </c:pt>
                <c:pt idx="835">
                  <c:v>91.380000000000052</c:v>
                </c:pt>
                <c:pt idx="836">
                  <c:v>90.619999999999948</c:v>
                </c:pt>
                <c:pt idx="837">
                  <c:v>92.859999999999957</c:v>
                </c:pt>
                <c:pt idx="838">
                  <c:v>92</c:v>
                </c:pt>
                <c:pt idx="839">
                  <c:v>89.539999999999978</c:v>
                </c:pt>
                <c:pt idx="840">
                  <c:v>87.289999999999978</c:v>
                </c:pt>
                <c:pt idx="841">
                  <c:v>87.289999999999978</c:v>
                </c:pt>
                <c:pt idx="842">
                  <c:v>87.289999999999978</c:v>
                </c:pt>
                <c:pt idx="843">
                  <c:v>85.94000000000004</c:v>
                </c:pt>
                <c:pt idx="844">
                  <c:v>84.839999999999975</c:v>
                </c:pt>
                <c:pt idx="845">
                  <c:v>83.539999999999978</c:v>
                </c:pt>
                <c:pt idx="846">
                  <c:v>84.029999999999987</c:v>
                </c:pt>
                <c:pt idx="847">
                  <c:v>85.369999999999948</c:v>
                </c:pt>
                <c:pt idx="848">
                  <c:v>85.369999999999948</c:v>
                </c:pt>
                <c:pt idx="849">
                  <c:v>85.369999999999948</c:v>
                </c:pt>
                <c:pt idx="850">
                  <c:v>83.960000000000022</c:v>
                </c:pt>
                <c:pt idx="851">
                  <c:v>86.30999999999996</c:v>
                </c:pt>
                <c:pt idx="852">
                  <c:v>83.01</c:v>
                </c:pt>
                <c:pt idx="853">
                  <c:v>82.720000000000013</c:v>
                </c:pt>
                <c:pt idx="854">
                  <c:v>82.98</c:v>
                </c:pt>
                <c:pt idx="855">
                  <c:v>82.98</c:v>
                </c:pt>
                <c:pt idx="856">
                  <c:v>82.98</c:v>
                </c:pt>
                <c:pt idx="857">
                  <c:v>83.410000000000025</c:v>
                </c:pt>
                <c:pt idx="858">
                  <c:v>84.75</c:v>
                </c:pt>
                <c:pt idx="859">
                  <c:v>87.390000000000043</c:v>
                </c:pt>
                <c:pt idx="860">
                  <c:v>86.299999999999969</c:v>
                </c:pt>
                <c:pt idx="861">
                  <c:v>86.359999999999957</c:v>
                </c:pt>
                <c:pt idx="862">
                  <c:v>86.359999999999957</c:v>
                </c:pt>
                <c:pt idx="863">
                  <c:v>86.359999999999957</c:v>
                </c:pt>
                <c:pt idx="864">
                  <c:v>84.910000000000025</c:v>
                </c:pt>
                <c:pt idx="865">
                  <c:v>86.52</c:v>
                </c:pt>
                <c:pt idx="866">
                  <c:v>86.119999999999948</c:v>
                </c:pt>
                <c:pt idx="867">
                  <c:v>87.76</c:v>
                </c:pt>
                <c:pt idx="868">
                  <c:v>87.789999999999978</c:v>
                </c:pt>
                <c:pt idx="869">
                  <c:v>87.789999999999978</c:v>
                </c:pt>
                <c:pt idx="870">
                  <c:v>87.789999999999978</c:v>
                </c:pt>
                <c:pt idx="871">
                  <c:v>85.650000000000034</c:v>
                </c:pt>
                <c:pt idx="872">
                  <c:v>83.680000000000049</c:v>
                </c:pt>
                <c:pt idx="873">
                  <c:v>83.349999999999966</c:v>
                </c:pt>
                <c:pt idx="874">
                  <c:v>81.23</c:v>
                </c:pt>
                <c:pt idx="875">
                  <c:v>80.55999999999996</c:v>
                </c:pt>
                <c:pt idx="876">
                  <c:v>80.55999999999996</c:v>
                </c:pt>
                <c:pt idx="877">
                  <c:v>80.55999999999996</c:v>
                </c:pt>
                <c:pt idx="878">
                  <c:v>81.130000000000052</c:v>
                </c:pt>
                <c:pt idx="879">
                  <c:v>78.819999999999951</c:v>
                </c:pt>
                <c:pt idx="880">
                  <c:v>79.380000000000052</c:v>
                </c:pt>
                <c:pt idx="881">
                  <c:v>77.109999999999957</c:v>
                </c:pt>
                <c:pt idx="882">
                  <c:v>77.380000000000038</c:v>
                </c:pt>
                <c:pt idx="883">
                  <c:v>77.380000000000038</c:v>
                </c:pt>
                <c:pt idx="884">
                  <c:v>77.380000000000038</c:v>
                </c:pt>
                <c:pt idx="885">
                  <c:v>80.880000000000052</c:v>
                </c:pt>
                <c:pt idx="886">
                  <c:v>80.049999999999969</c:v>
                </c:pt>
                <c:pt idx="887">
                  <c:v>81.92000000000003</c:v>
                </c:pt>
                <c:pt idx="888">
                  <c:v>82.319999999999951</c:v>
                </c:pt>
                <c:pt idx="889">
                  <c:v>85.05999999999996</c:v>
                </c:pt>
                <c:pt idx="890">
                  <c:v>85.05999999999996</c:v>
                </c:pt>
                <c:pt idx="891">
                  <c:v>85.05999999999996</c:v>
                </c:pt>
                <c:pt idx="892">
                  <c:v>86.089999999999975</c:v>
                </c:pt>
                <c:pt idx="893">
                  <c:v>88.119999999999948</c:v>
                </c:pt>
                <c:pt idx="894">
                  <c:v>91.52</c:v>
                </c:pt>
                <c:pt idx="895">
                  <c:v>91.410000000000025</c:v>
                </c:pt>
                <c:pt idx="896">
                  <c:v>90.51</c:v>
                </c:pt>
                <c:pt idx="897">
                  <c:v>90.51</c:v>
                </c:pt>
                <c:pt idx="898">
                  <c:v>90.51</c:v>
                </c:pt>
                <c:pt idx="899">
                  <c:v>90.25</c:v>
                </c:pt>
                <c:pt idx="900">
                  <c:v>92.900000000000034</c:v>
                </c:pt>
                <c:pt idx="901">
                  <c:v>88.589999999999975</c:v>
                </c:pt>
                <c:pt idx="902">
                  <c:v>88.200000000000031</c:v>
                </c:pt>
                <c:pt idx="903">
                  <c:v>85.930000000000049</c:v>
                </c:pt>
                <c:pt idx="904">
                  <c:v>85.930000000000049</c:v>
                </c:pt>
                <c:pt idx="905">
                  <c:v>85.930000000000049</c:v>
                </c:pt>
                <c:pt idx="906">
                  <c:v>84.299999999999969</c:v>
                </c:pt>
                <c:pt idx="907">
                  <c:v>87.25</c:v>
                </c:pt>
                <c:pt idx="908">
                  <c:v>86.119999999999948</c:v>
                </c:pt>
                <c:pt idx="909">
                  <c:v>86.289999999999978</c:v>
                </c:pt>
                <c:pt idx="910">
                  <c:v>87.48</c:v>
                </c:pt>
                <c:pt idx="911">
                  <c:v>87.48</c:v>
                </c:pt>
                <c:pt idx="912">
                  <c:v>87.48</c:v>
                </c:pt>
                <c:pt idx="913">
                  <c:v>85.720000000000013</c:v>
                </c:pt>
                <c:pt idx="914">
                  <c:v>85.650000000000034</c:v>
                </c:pt>
                <c:pt idx="915">
                  <c:v>84.26</c:v>
                </c:pt>
                <c:pt idx="916">
                  <c:v>84.450000000000031</c:v>
                </c:pt>
                <c:pt idx="917">
                  <c:v>84.650000000000034</c:v>
                </c:pt>
                <c:pt idx="918">
                  <c:v>84.650000000000034</c:v>
                </c:pt>
                <c:pt idx="919">
                  <c:v>84.650000000000034</c:v>
                </c:pt>
                <c:pt idx="920">
                  <c:v>84.799999999999969</c:v>
                </c:pt>
                <c:pt idx="921">
                  <c:v>85.25</c:v>
                </c:pt>
                <c:pt idx="922">
                  <c:v>84.319999999999951</c:v>
                </c:pt>
                <c:pt idx="923">
                  <c:v>84.349999999999966</c:v>
                </c:pt>
                <c:pt idx="924">
                  <c:v>84.539999999999978</c:v>
                </c:pt>
                <c:pt idx="925">
                  <c:v>84.539999999999978</c:v>
                </c:pt>
                <c:pt idx="926">
                  <c:v>84.539999999999978</c:v>
                </c:pt>
                <c:pt idx="927">
                  <c:v>84.99</c:v>
                </c:pt>
                <c:pt idx="928">
                  <c:v>85.849999999999966</c:v>
                </c:pt>
                <c:pt idx="929">
                  <c:v>87.670000000000016</c:v>
                </c:pt>
                <c:pt idx="930">
                  <c:v>88.99</c:v>
                </c:pt>
                <c:pt idx="931">
                  <c:v>89.859999999999957</c:v>
                </c:pt>
                <c:pt idx="932">
                  <c:v>89.859999999999957</c:v>
                </c:pt>
                <c:pt idx="933">
                  <c:v>89.859999999999957</c:v>
                </c:pt>
                <c:pt idx="934">
                  <c:v>89.539999999999978</c:v>
                </c:pt>
                <c:pt idx="935">
                  <c:v>90.319999999999979</c:v>
                </c:pt>
                <c:pt idx="936">
                  <c:v>89.26</c:v>
                </c:pt>
                <c:pt idx="937">
                  <c:v>89.5</c:v>
                </c:pt>
                <c:pt idx="938">
                  <c:v>87.150000000000034</c:v>
                </c:pt>
                <c:pt idx="939">
                  <c:v>87.150000000000034</c:v>
                </c:pt>
                <c:pt idx="940">
                  <c:v>87.150000000000034</c:v>
                </c:pt>
                <c:pt idx="941">
                  <c:v>85.160000000000025</c:v>
                </c:pt>
                <c:pt idx="942">
                  <c:v>83.849999999999966</c:v>
                </c:pt>
                <c:pt idx="943">
                  <c:v>82.25</c:v>
                </c:pt>
                <c:pt idx="944">
                  <c:v>83.589999999999975</c:v>
                </c:pt>
                <c:pt idx="945">
                  <c:v>82.450000000000031</c:v>
                </c:pt>
                <c:pt idx="946">
                  <c:v>82.450000000000031</c:v>
                </c:pt>
                <c:pt idx="947">
                  <c:v>82.450000000000031</c:v>
                </c:pt>
                <c:pt idx="948">
                  <c:v>81.48</c:v>
                </c:pt>
                <c:pt idx="949">
                  <c:v>83.160000000000025</c:v>
                </c:pt>
                <c:pt idx="950">
                  <c:v>82.74</c:v>
                </c:pt>
                <c:pt idx="951">
                  <c:v>83.660000000000025</c:v>
                </c:pt>
                <c:pt idx="952">
                  <c:v>85.5</c:v>
                </c:pt>
                <c:pt idx="953">
                  <c:v>85.5</c:v>
                </c:pt>
                <c:pt idx="954">
                  <c:v>85.5</c:v>
                </c:pt>
                <c:pt idx="955">
                  <c:v>86.470000000000013</c:v>
                </c:pt>
                <c:pt idx="956">
                  <c:v>85.839999999999975</c:v>
                </c:pt>
                <c:pt idx="957">
                  <c:v>87.170000000000016</c:v>
                </c:pt>
                <c:pt idx="958">
                  <c:v>87.529999999999987</c:v>
                </c:pt>
                <c:pt idx="959">
                  <c:v>86.73</c:v>
                </c:pt>
                <c:pt idx="960">
                  <c:v>86.73</c:v>
                </c:pt>
                <c:pt idx="961">
                  <c:v>86.73</c:v>
                </c:pt>
                <c:pt idx="962">
                  <c:v>86.589999999999975</c:v>
                </c:pt>
                <c:pt idx="963">
                  <c:v>88.920000000000016</c:v>
                </c:pt>
                <c:pt idx="964">
                  <c:v>87.30999999999996</c:v>
                </c:pt>
                <c:pt idx="965">
                  <c:v>84.94000000000004</c:v>
                </c:pt>
                <c:pt idx="966">
                  <c:v>84.5</c:v>
                </c:pt>
                <c:pt idx="967">
                  <c:v>84.5</c:v>
                </c:pt>
                <c:pt idx="968">
                  <c:v>84.5</c:v>
                </c:pt>
                <c:pt idx="969">
                  <c:v>84.789999999999978</c:v>
                </c:pt>
                <c:pt idx="970">
                  <c:v>83.880000000000052</c:v>
                </c:pt>
                <c:pt idx="971">
                  <c:v>85.349999999999966</c:v>
                </c:pt>
                <c:pt idx="972">
                  <c:v>84.859999999999957</c:v>
                </c:pt>
                <c:pt idx="973">
                  <c:v>84.369999999999948</c:v>
                </c:pt>
                <c:pt idx="974">
                  <c:v>84.369999999999948</c:v>
                </c:pt>
                <c:pt idx="975">
                  <c:v>84.369999999999948</c:v>
                </c:pt>
                <c:pt idx="976">
                  <c:v>83.26</c:v>
                </c:pt>
                <c:pt idx="977">
                  <c:v>82.950000000000031</c:v>
                </c:pt>
                <c:pt idx="978">
                  <c:v>82.789999999999978</c:v>
                </c:pt>
                <c:pt idx="979">
                  <c:v>82.0499999999999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FCF-4726-B5FA-D7D8F85AE32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LS </c:v>
                </c:pt>
              </c:strCache>
            </c:strRef>
          </c:tx>
          <c:spPr>
            <a:ln w="12700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multiLvlStrRef>
              <c:f>Tabelle1!$A$2:$A$1018</c:f>
              <c:multiLvlStrCache>
                <c:ptCount val="980"/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3</c:v>
                  </c:pt>
                  <c:pt idx="13">
                    <c:v>14</c:v>
                  </c:pt>
                  <c:pt idx="14">
                    <c:v>15</c:v>
                  </c:pt>
                  <c:pt idx="15">
                    <c:v>16</c:v>
                  </c:pt>
                  <c:pt idx="16">
                    <c:v>17</c:v>
                  </c:pt>
                  <c:pt idx="17">
                    <c:v>18</c:v>
                  </c:pt>
                  <c:pt idx="18">
                    <c:v>19</c:v>
                  </c:pt>
                  <c:pt idx="19">
                    <c:v>20</c:v>
                  </c:pt>
                  <c:pt idx="20">
                    <c:v>21</c:v>
                  </c:pt>
                  <c:pt idx="21">
                    <c:v>22</c:v>
                  </c:pt>
                  <c:pt idx="22">
                    <c:v>23</c:v>
                  </c:pt>
                  <c:pt idx="23">
                    <c:v>24</c:v>
                  </c:pt>
                  <c:pt idx="24">
                    <c:v>25</c:v>
                  </c:pt>
                  <c:pt idx="25">
                    <c:v>26</c:v>
                  </c:pt>
                  <c:pt idx="26">
                    <c:v>27</c:v>
                  </c:pt>
                  <c:pt idx="27">
                    <c:v>28</c:v>
                  </c:pt>
                  <c:pt idx="28">
                    <c:v>29</c:v>
                  </c:pt>
                  <c:pt idx="29">
                    <c:v>30</c:v>
                  </c:pt>
                  <c:pt idx="30">
                    <c:v>31</c:v>
                  </c:pt>
                  <c:pt idx="31">
                    <c:v>1</c:v>
                  </c:pt>
                  <c:pt idx="32">
                    <c:v>2</c:v>
                  </c:pt>
                  <c:pt idx="33">
                    <c:v>3</c:v>
                  </c:pt>
                  <c:pt idx="34">
                    <c:v>4</c:v>
                  </c:pt>
                  <c:pt idx="35">
                    <c:v>5</c:v>
                  </c:pt>
                  <c:pt idx="36">
                    <c:v>6</c:v>
                  </c:pt>
                  <c:pt idx="37">
                    <c:v>7</c:v>
                  </c:pt>
                  <c:pt idx="38">
                    <c:v>8</c:v>
                  </c:pt>
                  <c:pt idx="39">
                    <c:v>9</c:v>
                  </c:pt>
                  <c:pt idx="40">
                    <c:v>10</c:v>
                  </c:pt>
                  <c:pt idx="41">
                    <c:v>11</c:v>
                  </c:pt>
                  <c:pt idx="42">
                    <c:v>12</c:v>
                  </c:pt>
                  <c:pt idx="43">
                    <c:v>13</c:v>
                  </c:pt>
                  <c:pt idx="44">
                    <c:v>14</c:v>
                  </c:pt>
                  <c:pt idx="45">
                    <c:v>15</c:v>
                  </c:pt>
                  <c:pt idx="46">
                    <c:v>16</c:v>
                  </c:pt>
                  <c:pt idx="47">
                    <c:v>17</c:v>
                  </c:pt>
                  <c:pt idx="48">
                    <c:v>18</c:v>
                  </c:pt>
                  <c:pt idx="49">
                    <c:v>19</c:v>
                  </c:pt>
                  <c:pt idx="50">
                    <c:v>20</c:v>
                  </c:pt>
                  <c:pt idx="51">
                    <c:v>21</c:v>
                  </c:pt>
                  <c:pt idx="52">
                    <c:v>22</c:v>
                  </c:pt>
                  <c:pt idx="53">
                    <c:v>23</c:v>
                  </c:pt>
                  <c:pt idx="54">
                    <c:v>24</c:v>
                  </c:pt>
                  <c:pt idx="55">
                    <c:v>25</c:v>
                  </c:pt>
                  <c:pt idx="56">
                    <c:v>26</c:v>
                  </c:pt>
                  <c:pt idx="57">
                    <c:v>27</c:v>
                  </c:pt>
                  <c:pt idx="58">
                    <c:v>28</c:v>
                  </c:pt>
                  <c:pt idx="59">
                    <c:v>1</c:v>
                  </c:pt>
                  <c:pt idx="60">
                    <c:v>2</c:v>
                  </c:pt>
                  <c:pt idx="61">
                    <c:v>3</c:v>
                  </c:pt>
                  <c:pt idx="62">
                    <c:v>4</c:v>
                  </c:pt>
                  <c:pt idx="63">
                    <c:v>5</c:v>
                  </c:pt>
                  <c:pt idx="64">
                    <c:v>6</c:v>
                  </c:pt>
                  <c:pt idx="65">
                    <c:v>7</c:v>
                  </c:pt>
                  <c:pt idx="66">
                    <c:v>8</c:v>
                  </c:pt>
                  <c:pt idx="67">
                    <c:v>9</c:v>
                  </c:pt>
                  <c:pt idx="68">
                    <c:v>10</c:v>
                  </c:pt>
                  <c:pt idx="69">
                    <c:v>11</c:v>
                  </c:pt>
                  <c:pt idx="70">
                    <c:v>12</c:v>
                  </c:pt>
                  <c:pt idx="71">
                    <c:v>13</c:v>
                  </c:pt>
                  <c:pt idx="72">
                    <c:v>14</c:v>
                  </c:pt>
                  <c:pt idx="73">
                    <c:v>15</c:v>
                  </c:pt>
                  <c:pt idx="74">
                    <c:v>16</c:v>
                  </c:pt>
                  <c:pt idx="75">
                    <c:v>17</c:v>
                  </c:pt>
                  <c:pt idx="76">
                    <c:v>18</c:v>
                  </c:pt>
                  <c:pt idx="77">
                    <c:v>19</c:v>
                  </c:pt>
                  <c:pt idx="78">
                    <c:v>20</c:v>
                  </c:pt>
                  <c:pt idx="79">
                    <c:v>21</c:v>
                  </c:pt>
                  <c:pt idx="80">
                    <c:v>22</c:v>
                  </c:pt>
                  <c:pt idx="81">
                    <c:v>23</c:v>
                  </c:pt>
                  <c:pt idx="82">
                    <c:v>24</c:v>
                  </c:pt>
                  <c:pt idx="83">
                    <c:v>25</c:v>
                  </c:pt>
                  <c:pt idx="84">
                    <c:v>26</c:v>
                  </c:pt>
                  <c:pt idx="85">
                    <c:v>27</c:v>
                  </c:pt>
                  <c:pt idx="86">
                    <c:v>28</c:v>
                  </c:pt>
                  <c:pt idx="87">
                    <c:v>29</c:v>
                  </c:pt>
                  <c:pt idx="88">
                    <c:v>30</c:v>
                  </c:pt>
                  <c:pt idx="89">
                    <c:v>31</c:v>
                  </c:pt>
                  <c:pt idx="90">
                    <c:v>1</c:v>
                  </c:pt>
                  <c:pt idx="91">
                    <c:v>2</c:v>
                  </c:pt>
                  <c:pt idx="92">
                    <c:v>3</c:v>
                  </c:pt>
                  <c:pt idx="93">
                    <c:v>4</c:v>
                  </c:pt>
                  <c:pt idx="94">
                    <c:v>5</c:v>
                  </c:pt>
                  <c:pt idx="95">
                    <c:v>6</c:v>
                  </c:pt>
                  <c:pt idx="96">
                    <c:v>7</c:v>
                  </c:pt>
                  <c:pt idx="97">
                    <c:v>8</c:v>
                  </c:pt>
                  <c:pt idx="98">
                    <c:v>9</c:v>
                  </c:pt>
                  <c:pt idx="99">
                    <c:v>10</c:v>
                  </c:pt>
                  <c:pt idx="100">
                    <c:v>11</c:v>
                  </c:pt>
                  <c:pt idx="101">
                    <c:v>12</c:v>
                  </c:pt>
                  <c:pt idx="102">
                    <c:v>13</c:v>
                  </c:pt>
                  <c:pt idx="103">
                    <c:v>14</c:v>
                  </c:pt>
                  <c:pt idx="104">
                    <c:v>15</c:v>
                  </c:pt>
                  <c:pt idx="105">
                    <c:v>16</c:v>
                  </c:pt>
                  <c:pt idx="106">
                    <c:v>17</c:v>
                  </c:pt>
                  <c:pt idx="107">
                    <c:v>18</c:v>
                  </c:pt>
                  <c:pt idx="108">
                    <c:v>19</c:v>
                  </c:pt>
                  <c:pt idx="109">
                    <c:v>20</c:v>
                  </c:pt>
                  <c:pt idx="110">
                    <c:v>21</c:v>
                  </c:pt>
                  <c:pt idx="111">
                    <c:v>22</c:v>
                  </c:pt>
                  <c:pt idx="112">
                    <c:v>23</c:v>
                  </c:pt>
                  <c:pt idx="113">
                    <c:v>24</c:v>
                  </c:pt>
                  <c:pt idx="114">
                    <c:v>25</c:v>
                  </c:pt>
                  <c:pt idx="115">
                    <c:v>26</c:v>
                  </c:pt>
                  <c:pt idx="116">
                    <c:v>27</c:v>
                  </c:pt>
                  <c:pt idx="117">
                    <c:v>28</c:v>
                  </c:pt>
                  <c:pt idx="118">
                    <c:v>29</c:v>
                  </c:pt>
                  <c:pt idx="119">
                    <c:v>30</c:v>
                  </c:pt>
                  <c:pt idx="120">
                    <c:v>1</c:v>
                  </c:pt>
                  <c:pt idx="121">
                    <c:v>2</c:v>
                  </c:pt>
                  <c:pt idx="122">
                    <c:v>3</c:v>
                  </c:pt>
                  <c:pt idx="123">
                    <c:v>4</c:v>
                  </c:pt>
                  <c:pt idx="124">
                    <c:v>5</c:v>
                  </c:pt>
                  <c:pt idx="125">
                    <c:v>6</c:v>
                  </c:pt>
                  <c:pt idx="126">
                    <c:v>7</c:v>
                  </c:pt>
                  <c:pt idx="127">
                    <c:v>8</c:v>
                  </c:pt>
                  <c:pt idx="128">
                    <c:v>9</c:v>
                  </c:pt>
                  <c:pt idx="129">
                    <c:v>10</c:v>
                  </c:pt>
                  <c:pt idx="130">
                    <c:v>11</c:v>
                  </c:pt>
                  <c:pt idx="131">
                    <c:v>12</c:v>
                  </c:pt>
                  <c:pt idx="132">
                    <c:v>13</c:v>
                  </c:pt>
                  <c:pt idx="133">
                    <c:v>14</c:v>
                  </c:pt>
                  <c:pt idx="134">
                    <c:v>15</c:v>
                  </c:pt>
                  <c:pt idx="135">
                    <c:v>16</c:v>
                  </c:pt>
                  <c:pt idx="136">
                    <c:v>17</c:v>
                  </c:pt>
                  <c:pt idx="137">
                    <c:v>18</c:v>
                  </c:pt>
                  <c:pt idx="138">
                    <c:v>19</c:v>
                  </c:pt>
                  <c:pt idx="139">
                    <c:v>20</c:v>
                  </c:pt>
                  <c:pt idx="140">
                    <c:v>21</c:v>
                  </c:pt>
                  <c:pt idx="141">
                    <c:v>22</c:v>
                  </c:pt>
                  <c:pt idx="142">
                    <c:v>23</c:v>
                  </c:pt>
                  <c:pt idx="143">
                    <c:v>24</c:v>
                  </c:pt>
                  <c:pt idx="144">
                    <c:v>25</c:v>
                  </c:pt>
                  <c:pt idx="145">
                    <c:v>26</c:v>
                  </c:pt>
                  <c:pt idx="146">
                    <c:v>27</c:v>
                  </c:pt>
                  <c:pt idx="147">
                    <c:v>28</c:v>
                  </c:pt>
                  <c:pt idx="148">
                    <c:v>29</c:v>
                  </c:pt>
                  <c:pt idx="149">
                    <c:v>30</c:v>
                  </c:pt>
                  <c:pt idx="150">
                    <c:v>31</c:v>
                  </c:pt>
                  <c:pt idx="151">
                    <c:v>1</c:v>
                  </c:pt>
                  <c:pt idx="152">
                    <c:v>2</c:v>
                  </c:pt>
                  <c:pt idx="153">
                    <c:v>3</c:v>
                  </c:pt>
                  <c:pt idx="154">
                    <c:v>4</c:v>
                  </c:pt>
                  <c:pt idx="155">
                    <c:v>5</c:v>
                  </c:pt>
                  <c:pt idx="156">
                    <c:v>6</c:v>
                  </c:pt>
                  <c:pt idx="157">
                    <c:v>7</c:v>
                  </c:pt>
                  <c:pt idx="158">
                    <c:v>8</c:v>
                  </c:pt>
                  <c:pt idx="159">
                    <c:v>9</c:v>
                  </c:pt>
                  <c:pt idx="160">
                    <c:v>10</c:v>
                  </c:pt>
                  <c:pt idx="161">
                    <c:v>11</c:v>
                  </c:pt>
                  <c:pt idx="162">
                    <c:v>12</c:v>
                  </c:pt>
                  <c:pt idx="163">
                    <c:v>13</c:v>
                  </c:pt>
                  <c:pt idx="164">
                    <c:v>14</c:v>
                  </c:pt>
                  <c:pt idx="165">
                    <c:v>15</c:v>
                  </c:pt>
                  <c:pt idx="166">
                    <c:v>16</c:v>
                  </c:pt>
                  <c:pt idx="167">
                    <c:v>17</c:v>
                  </c:pt>
                  <c:pt idx="168">
                    <c:v>18</c:v>
                  </c:pt>
                  <c:pt idx="169">
                    <c:v>19</c:v>
                  </c:pt>
                  <c:pt idx="170">
                    <c:v>20</c:v>
                  </c:pt>
                  <c:pt idx="171">
                    <c:v>21</c:v>
                  </c:pt>
                  <c:pt idx="172">
                    <c:v>22</c:v>
                  </c:pt>
                  <c:pt idx="173">
                    <c:v>23</c:v>
                  </c:pt>
                  <c:pt idx="174">
                    <c:v>24</c:v>
                  </c:pt>
                  <c:pt idx="175">
                    <c:v>25</c:v>
                  </c:pt>
                  <c:pt idx="176">
                    <c:v>26</c:v>
                  </c:pt>
                  <c:pt idx="177">
                    <c:v>27</c:v>
                  </c:pt>
                  <c:pt idx="178">
                    <c:v>28</c:v>
                  </c:pt>
                  <c:pt idx="179">
                    <c:v>29</c:v>
                  </c:pt>
                  <c:pt idx="180">
                    <c:v>30</c:v>
                  </c:pt>
                  <c:pt idx="181">
                    <c:v>1</c:v>
                  </c:pt>
                  <c:pt idx="182">
                    <c:v>2</c:v>
                  </c:pt>
                  <c:pt idx="183">
                    <c:v>3</c:v>
                  </c:pt>
                  <c:pt idx="184">
                    <c:v>4</c:v>
                  </c:pt>
                  <c:pt idx="185">
                    <c:v>5</c:v>
                  </c:pt>
                  <c:pt idx="186">
                    <c:v>6</c:v>
                  </c:pt>
                  <c:pt idx="187">
                    <c:v>7</c:v>
                  </c:pt>
                  <c:pt idx="188">
                    <c:v>8</c:v>
                  </c:pt>
                  <c:pt idx="189">
                    <c:v>9</c:v>
                  </c:pt>
                  <c:pt idx="190">
                    <c:v>10</c:v>
                  </c:pt>
                  <c:pt idx="191">
                    <c:v>11</c:v>
                  </c:pt>
                  <c:pt idx="192">
                    <c:v>12</c:v>
                  </c:pt>
                  <c:pt idx="193">
                    <c:v>13</c:v>
                  </c:pt>
                  <c:pt idx="194">
                    <c:v>14</c:v>
                  </c:pt>
                  <c:pt idx="195">
                    <c:v>15</c:v>
                  </c:pt>
                  <c:pt idx="196">
                    <c:v>16</c:v>
                  </c:pt>
                  <c:pt idx="197">
                    <c:v>17</c:v>
                  </c:pt>
                  <c:pt idx="198">
                    <c:v>18</c:v>
                  </c:pt>
                  <c:pt idx="199">
                    <c:v>19</c:v>
                  </c:pt>
                  <c:pt idx="200">
                    <c:v>20</c:v>
                  </c:pt>
                  <c:pt idx="201">
                    <c:v>21</c:v>
                  </c:pt>
                  <c:pt idx="202">
                    <c:v>22</c:v>
                  </c:pt>
                  <c:pt idx="203">
                    <c:v>23</c:v>
                  </c:pt>
                  <c:pt idx="204">
                    <c:v>24</c:v>
                  </c:pt>
                  <c:pt idx="205">
                    <c:v>25</c:v>
                  </c:pt>
                  <c:pt idx="206">
                    <c:v>26</c:v>
                  </c:pt>
                  <c:pt idx="207">
                    <c:v>27</c:v>
                  </c:pt>
                  <c:pt idx="208">
                    <c:v>28</c:v>
                  </c:pt>
                  <c:pt idx="209">
                    <c:v>29</c:v>
                  </c:pt>
                  <c:pt idx="210">
                    <c:v>30</c:v>
                  </c:pt>
                  <c:pt idx="211">
                    <c:v>31</c:v>
                  </c:pt>
                  <c:pt idx="212">
                    <c:v>1</c:v>
                  </c:pt>
                  <c:pt idx="213">
                    <c:v>2</c:v>
                  </c:pt>
                  <c:pt idx="214">
                    <c:v>3</c:v>
                  </c:pt>
                  <c:pt idx="215">
                    <c:v>4</c:v>
                  </c:pt>
                  <c:pt idx="216">
                    <c:v>5</c:v>
                  </c:pt>
                  <c:pt idx="217">
                    <c:v>6</c:v>
                  </c:pt>
                  <c:pt idx="218">
                    <c:v>7</c:v>
                  </c:pt>
                  <c:pt idx="219">
                    <c:v>8</c:v>
                  </c:pt>
                  <c:pt idx="220">
                    <c:v>9</c:v>
                  </c:pt>
                  <c:pt idx="221">
                    <c:v>10</c:v>
                  </c:pt>
                  <c:pt idx="222">
                    <c:v>11</c:v>
                  </c:pt>
                  <c:pt idx="223">
                    <c:v>12</c:v>
                  </c:pt>
                  <c:pt idx="224">
                    <c:v>13</c:v>
                  </c:pt>
                  <c:pt idx="225">
                    <c:v>14</c:v>
                  </c:pt>
                  <c:pt idx="226">
                    <c:v>15</c:v>
                  </c:pt>
                  <c:pt idx="227">
                    <c:v>16</c:v>
                  </c:pt>
                  <c:pt idx="228">
                    <c:v>17</c:v>
                  </c:pt>
                  <c:pt idx="229">
                    <c:v>18</c:v>
                  </c:pt>
                  <c:pt idx="230">
                    <c:v>19</c:v>
                  </c:pt>
                  <c:pt idx="231">
                    <c:v>20</c:v>
                  </c:pt>
                  <c:pt idx="232">
                    <c:v>21</c:v>
                  </c:pt>
                  <c:pt idx="233">
                    <c:v>22</c:v>
                  </c:pt>
                  <c:pt idx="234">
                    <c:v>23</c:v>
                  </c:pt>
                  <c:pt idx="235">
                    <c:v>24</c:v>
                  </c:pt>
                  <c:pt idx="236">
                    <c:v>25</c:v>
                  </c:pt>
                  <c:pt idx="237">
                    <c:v>26</c:v>
                  </c:pt>
                  <c:pt idx="238">
                    <c:v>27</c:v>
                  </c:pt>
                  <c:pt idx="239">
                    <c:v>28</c:v>
                  </c:pt>
                  <c:pt idx="240">
                    <c:v>29</c:v>
                  </c:pt>
                  <c:pt idx="241">
                    <c:v>30</c:v>
                  </c:pt>
                  <c:pt idx="242">
                    <c:v>31</c:v>
                  </c:pt>
                  <c:pt idx="243">
                    <c:v>1</c:v>
                  </c:pt>
                  <c:pt idx="244">
                    <c:v>2</c:v>
                  </c:pt>
                  <c:pt idx="245">
                    <c:v>3</c:v>
                  </c:pt>
                  <c:pt idx="246">
                    <c:v>4</c:v>
                  </c:pt>
                  <c:pt idx="247">
                    <c:v>5</c:v>
                  </c:pt>
                  <c:pt idx="248">
                    <c:v>6</c:v>
                  </c:pt>
                  <c:pt idx="249">
                    <c:v>7</c:v>
                  </c:pt>
                  <c:pt idx="250">
                    <c:v>8</c:v>
                  </c:pt>
                  <c:pt idx="251">
                    <c:v>9</c:v>
                  </c:pt>
                  <c:pt idx="252">
                    <c:v>10</c:v>
                  </c:pt>
                  <c:pt idx="253">
                    <c:v>11</c:v>
                  </c:pt>
                  <c:pt idx="254">
                    <c:v>12</c:v>
                  </c:pt>
                  <c:pt idx="255">
                    <c:v>13</c:v>
                  </c:pt>
                  <c:pt idx="256">
                    <c:v>14</c:v>
                  </c:pt>
                  <c:pt idx="257">
                    <c:v>15</c:v>
                  </c:pt>
                  <c:pt idx="258">
                    <c:v>16</c:v>
                  </c:pt>
                  <c:pt idx="259">
                    <c:v>17</c:v>
                  </c:pt>
                  <c:pt idx="260">
                    <c:v>18</c:v>
                  </c:pt>
                  <c:pt idx="261">
                    <c:v>19</c:v>
                  </c:pt>
                  <c:pt idx="262">
                    <c:v>20</c:v>
                  </c:pt>
                  <c:pt idx="263">
                    <c:v>21</c:v>
                  </c:pt>
                  <c:pt idx="264">
                    <c:v>22</c:v>
                  </c:pt>
                  <c:pt idx="265">
                    <c:v>23</c:v>
                  </c:pt>
                  <c:pt idx="266">
                    <c:v>24</c:v>
                  </c:pt>
                  <c:pt idx="267">
                    <c:v>25</c:v>
                  </c:pt>
                  <c:pt idx="268">
                    <c:v>26</c:v>
                  </c:pt>
                  <c:pt idx="269">
                    <c:v>27</c:v>
                  </c:pt>
                  <c:pt idx="270">
                    <c:v>28</c:v>
                  </c:pt>
                  <c:pt idx="271">
                    <c:v>29</c:v>
                  </c:pt>
                  <c:pt idx="272">
                    <c:v>30</c:v>
                  </c:pt>
                  <c:pt idx="273">
                    <c:v>1</c:v>
                  </c:pt>
                  <c:pt idx="274">
                    <c:v>2</c:v>
                  </c:pt>
                  <c:pt idx="275">
                    <c:v>3</c:v>
                  </c:pt>
                  <c:pt idx="276">
                    <c:v>4</c:v>
                  </c:pt>
                  <c:pt idx="277">
                    <c:v>5</c:v>
                  </c:pt>
                  <c:pt idx="278">
                    <c:v>6</c:v>
                  </c:pt>
                  <c:pt idx="279">
                    <c:v>7</c:v>
                  </c:pt>
                  <c:pt idx="280">
                    <c:v>8</c:v>
                  </c:pt>
                  <c:pt idx="281">
                    <c:v>9</c:v>
                  </c:pt>
                  <c:pt idx="282">
                    <c:v>10</c:v>
                  </c:pt>
                  <c:pt idx="283">
                    <c:v>11</c:v>
                  </c:pt>
                  <c:pt idx="284">
                    <c:v>12</c:v>
                  </c:pt>
                  <c:pt idx="285">
                    <c:v>13</c:v>
                  </c:pt>
                  <c:pt idx="286">
                    <c:v>14</c:v>
                  </c:pt>
                  <c:pt idx="287">
                    <c:v>15</c:v>
                  </c:pt>
                  <c:pt idx="288">
                    <c:v>16</c:v>
                  </c:pt>
                  <c:pt idx="289">
                    <c:v>17</c:v>
                  </c:pt>
                  <c:pt idx="290">
                    <c:v>18</c:v>
                  </c:pt>
                  <c:pt idx="291">
                    <c:v>19</c:v>
                  </c:pt>
                  <c:pt idx="292">
                    <c:v>20</c:v>
                  </c:pt>
                  <c:pt idx="293">
                    <c:v>21</c:v>
                  </c:pt>
                  <c:pt idx="294">
                    <c:v>22</c:v>
                  </c:pt>
                  <c:pt idx="295">
                    <c:v>23</c:v>
                  </c:pt>
                  <c:pt idx="296">
                    <c:v>24</c:v>
                  </c:pt>
                  <c:pt idx="297">
                    <c:v>25</c:v>
                  </c:pt>
                  <c:pt idx="298">
                    <c:v>26</c:v>
                  </c:pt>
                  <c:pt idx="299">
                    <c:v>27</c:v>
                  </c:pt>
                  <c:pt idx="300">
                    <c:v>28</c:v>
                  </c:pt>
                  <c:pt idx="301">
                    <c:v>29</c:v>
                  </c:pt>
                  <c:pt idx="302">
                    <c:v>30</c:v>
                  </c:pt>
                  <c:pt idx="303">
                    <c:v>31</c:v>
                  </c:pt>
                  <c:pt idx="304">
                    <c:v>1</c:v>
                  </c:pt>
                  <c:pt idx="305">
                    <c:v>2</c:v>
                  </c:pt>
                  <c:pt idx="306">
                    <c:v>3</c:v>
                  </c:pt>
                  <c:pt idx="307">
                    <c:v>4</c:v>
                  </c:pt>
                  <c:pt idx="308">
                    <c:v>5</c:v>
                  </c:pt>
                  <c:pt idx="309">
                    <c:v>6</c:v>
                  </c:pt>
                  <c:pt idx="310">
                    <c:v>7</c:v>
                  </c:pt>
                  <c:pt idx="311">
                    <c:v>8</c:v>
                  </c:pt>
                  <c:pt idx="312">
                    <c:v>9</c:v>
                  </c:pt>
                  <c:pt idx="313">
                    <c:v>10</c:v>
                  </c:pt>
                  <c:pt idx="314">
                    <c:v>11</c:v>
                  </c:pt>
                  <c:pt idx="315">
                    <c:v>12</c:v>
                  </c:pt>
                  <c:pt idx="316">
                    <c:v>13</c:v>
                  </c:pt>
                  <c:pt idx="317">
                    <c:v>14</c:v>
                  </c:pt>
                  <c:pt idx="318">
                    <c:v>15</c:v>
                  </c:pt>
                  <c:pt idx="319">
                    <c:v>16</c:v>
                  </c:pt>
                  <c:pt idx="320">
                    <c:v>17</c:v>
                  </c:pt>
                  <c:pt idx="321">
                    <c:v>18</c:v>
                  </c:pt>
                  <c:pt idx="322">
                    <c:v>19</c:v>
                  </c:pt>
                  <c:pt idx="323">
                    <c:v>20</c:v>
                  </c:pt>
                  <c:pt idx="324">
                    <c:v>21</c:v>
                  </c:pt>
                  <c:pt idx="325">
                    <c:v>22</c:v>
                  </c:pt>
                  <c:pt idx="326">
                    <c:v>23</c:v>
                  </c:pt>
                  <c:pt idx="327">
                    <c:v>24</c:v>
                  </c:pt>
                  <c:pt idx="328">
                    <c:v>25</c:v>
                  </c:pt>
                  <c:pt idx="329">
                    <c:v>26</c:v>
                  </c:pt>
                  <c:pt idx="330">
                    <c:v>27</c:v>
                  </c:pt>
                  <c:pt idx="331">
                    <c:v>28</c:v>
                  </c:pt>
                  <c:pt idx="332">
                    <c:v>29</c:v>
                  </c:pt>
                  <c:pt idx="333">
                    <c:v>30</c:v>
                  </c:pt>
                  <c:pt idx="334">
                    <c:v>1</c:v>
                  </c:pt>
                  <c:pt idx="335">
                    <c:v>2</c:v>
                  </c:pt>
                  <c:pt idx="336">
                    <c:v>3</c:v>
                  </c:pt>
                  <c:pt idx="337">
                    <c:v>4</c:v>
                  </c:pt>
                  <c:pt idx="338">
                    <c:v>5</c:v>
                  </c:pt>
                  <c:pt idx="339">
                    <c:v>6</c:v>
                  </c:pt>
                  <c:pt idx="340">
                    <c:v>7</c:v>
                  </c:pt>
                  <c:pt idx="341">
                    <c:v>8</c:v>
                  </c:pt>
                  <c:pt idx="342">
                    <c:v>9</c:v>
                  </c:pt>
                  <c:pt idx="343">
                    <c:v>10</c:v>
                  </c:pt>
                  <c:pt idx="344">
                    <c:v>11</c:v>
                  </c:pt>
                  <c:pt idx="345">
                    <c:v>12</c:v>
                  </c:pt>
                  <c:pt idx="346">
                    <c:v>13</c:v>
                  </c:pt>
                  <c:pt idx="347">
                    <c:v>14</c:v>
                  </c:pt>
                  <c:pt idx="348">
                    <c:v>15</c:v>
                  </c:pt>
                  <c:pt idx="349">
                    <c:v>16</c:v>
                  </c:pt>
                  <c:pt idx="350">
                    <c:v>17</c:v>
                  </c:pt>
                  <c:pt idx="351">
                    <c:v>18</c:v>
                  </c:pt>
                  <c:pt idx="352">
                    <c:v>19</c:v>
                  </c:pt>
                  <c:pt idx="353">
                    <c:v>20</c:v>
                  </c:pt>
                  <c:pt idx="354">
                    <c:v>21</c:v>
                  </c:pt>
                  <c:pt idx="355">
                    <c:v>22</c:v>
                  </c:pt>
                  <c:pt idx="356">
                    <c:v>23</c:v>
                  </c:pt>
                  <c:pt idx="357">
                    <c:v>24</c:v>
                  </c:pt>
                  <c:pt idx="358">
                    <c:v>25</c:v>
                  </c:pt>
                  <c:pt idx="359">
                    <c:v>26</c:v>
                  </c:pt>
                  <c:pt idx="360">
                    <c:v>27</c:v>
                  </c:pt>
                  <c:pt idx="361">
                    <c:v>28</c:v>
                  </c:pt>
                  <c:pt idx="362">
                    <c:v>29</c:v>
                  </c:pt>
                  <c:pt idx="363">
                    <c:v>30</c:v>
                  </c:pt>
                  <c:pt idx="364">
                    <c:v>31</c:v>
                  </c:pt>
                  <c:pt idx="365">
                    <c:v>1</c:v>
                  </c:pt>
                  <c:pt idx="366">
                    <c:v>2</c:v>
                  </c:pt>
                  <c:pt idx="367">
                    <c:v>3</c:v>
                  </c:pt>
                  <c:pt idx="368">
                    <c:v>4</c:v>
                  </c:pt>
                  <c:pt idx="369">
                    <c:v>5</c:v>
                  </c:pt>
                  <c:pt idx="370">
                    <c:v>6</c:v>
                  </c:pt>
                  <c:pt idx="371">
                    <c:v>7</c:v>
                  </c:pt>
                  <c:pt idx="372">
                    <c:v>8</c:v>
                  </c:pt>
                  <c:pt idx="373">
                    <c:v>9</c:v>
                  </c:pt>
                  <c:pt idx="374">
                    <c:v>10</c:v>
                  </c:pt>
                  <c:pt idx="375">
                    <c:v>11</c:v>
                  </c:pt>
                  <c:pt idx="376">
                    <c:v>12</c:v>
                  </c:pt>
                  <c:pt idx="377">
                    <c:v>13</c:v>
                  </c:pt>
                  <c:pt idx="378">
                    <c:v>14</c:v>
                  </c:pt>
                  <c:pt idx="379">
                    <c:v>15</c:v>
                  </c:pt>
                  <c:pt idx="380">
                    <c:v>16</c:v>
                  </c:pt>
                  <c:pt idx="381">
                    <c:v>17</c:v>
                  </c:pt>
                  <c:pt idx="382">
                    <c:v>18</c:v>
                  </c:pt>
                  <c:pt idx="383">
                    <c:v>19</c:v>
                  </c:pt>
                  <c:pt idx="384">
                    <c:v>20</c:v>
                  </c:pt>
                  <c:pt idx="385">
                    <c:v>21</c:v>
                  </c:pt>
                  <c:pt idx="386">
                    <c:v>22</c:v>
                  </c:pt>
                  <c:pt idx="387">
                    <c:v>23</c:v>
                  </c:pt>
                  <c:pt idx="388">
                    <c:v>24</c:v>
                  </c:pt>
                  <c:pt idx="389">
                    <c:v>25</c:v>
                  </c:pt>
                  <c:pt idx="390">
                    <c:v>26</c:v>
                  </c:pt>
                  <c:pt idx="391">
                    <c:v>27</c:v>
                  </c:pt>
                  <c:pt idx="392">
                    <c:v>28</c:v>
                  </c:pt>
                  <c:pt idx="393">
                    <c:v>29</c:v>
                  </c:pt>
                  <c:pt idx="394">
                    <c:v>30</c:v>
                  </c:pt>
                  <c:pt idx="395">
                    <c:v>31</c:v>
                  </c:pt>
                  <c:pt idx="396">
                    <c:v>1</c:v>
                  </c:pt>
                  <c:pt idx="397">
                    <c:v>2</c:v>
                  </c:pt>
                  <c:pt idx="398">
                    <c:v>3</c:v>
                  </c:pt>
                  <c:pt idx="399">
                    <c:v>4</c:v>
                  </c:pt>
                  <c:pt idx="400">
                    <c:v>5</c:v>
                  </c:pt>
                  <c:pt idx="401">
                    <c:v>6</c:v>
                  </c:pt>
                  <c:pt idx="402">
                    <c:v>7</c:v>
                  </c:pt>
                  <c:pt idx="403">
                    <c:v>8</c:v>
                  </c:pt>
                  <c:pt idx="404">
                    <c:v>9</c:v>
                  </c:pt>
                  <c:pt idx="405">
                    <c:v>10</c:v>
                  </c:pt>
                  <c:pt idx="406">
                    <c:v>11</c:v>
                  </c:pt>
                  <c:pt idx="407">
                    <c:v>12</c:v>
                  </c:pt>
                  <c:pt idx="408">
                    <c:v>13</c:v>
                  </c:pt>
                  <c:pt idx="409">
                    <c:v>14</c:v>
                  </c:pt>
                  <c:pt idx="410">
                    <c:v>15</c:v>
                  </c:pt>
                  <c:pt idx="411">
                    <c:v>16</c:v>
                  </c:pt>
                  <c:pt idx="412">
                    <c:v>17</c:v>
                  </c:pt>
                  <c:pt idx="413">
                    <c:v>18</c:v>
                  </c:pt>
                  <c:pt idx="414">
                    <c:v>19</c:v>
                  </c:pt>
                  <c:pt idx="415">
                    <c:v>20</c:v>
                  </c:pt>
                  <c:pt idx="416">
                    <c:v>21</c:v>
                  </c:pt>
                  <c:pt idx="417">
                    <c:v>22</c:v>
                  </c:pt>
                  <c:pt idx="418">
                    <c:v>23</c:v>
                  </c:pt>
                  <c:pt idx="419">
                    <c:v>24</c:v>
                  </c:pt>
                  <c:pt idx="420">
                    <c:v>25</c:v>
                  </c:pt>
                  <c:pt idx="421">
                    <c:v>26</c:v>
                  </c:pt>
                  <c:pt idx="422">
                    <c:v>27</c:v>
                  </c:pt>
                  <c:pt idx="423">
                    <c:v>28</c:v>
                  </c:pt>
                  <c:pt idx="424">
                    <c:v>1</c:v>
                  </c:pt>
                  <c:pt idx="425">
                    <c:v>2</c:v>
                  </c:pt>
                  <c:pt idx="426">
                    <c:v>3</c:v>
                  </c:pt>
                  <c:pt idx="427">
                    <c:v>4</c:v>
                  </c:pt>
                  <c:pt idx="428">
                    <c:v>5</c:v>
                  </c:pt>
                  <c:pt idx="429">
                    <c:v>6</c:v>
                  </c:pt>
                  <c:pt idx="430">
                    <c:v>7</c:v>
                  </c:pt>
                  <c:pt idx="431">
                    <c:v>8</c:v>
                  </c:pt>
                  <c:pt idx="432">
                    <c:v>9</c:v>
                  </c:pt>
                  <c:pt idx="433">
                    <c:v>10</c:v>
                  </c:pt>
                  <c:pt idx="434">
                    <c:v>11</c:v>
                  </c:pt>
                  <c:pt idx="435">
                    <c:v>12</c:v>
                  </c:pt>
                  <c:pt idx="436">
                    <c:v>13</c:v>
                  </c:pt>
                  <c:pt idx="437">
                    <c:v>14</c:v>
                  </c:pt>
                  <c:pt idx="438">
                    <c:v>15</c:v>
                  </c:pt>
                  <c:pt idx="439">
                    <c:v>16</c:v>
                  </c:pt>
                  <c:pt idx="440">
                    <c:v>17</c:v>
                  </c:pt>
                  <c:pt idx="441">
                    <c:v>18</c:v>
                  </c:pt>
                  <c:pt idx="442">
                    <c:v>19</c:v>
                  </c:pt>
                  <c:pt idx="443">
                    <c:v>20</c:v>
                  </c:pt>
                  <c:pt idx="444">
                    <c:v>21</c:v>
                  </c:pt>
                  <c:pt idx="445">
                    <c:v>22</c:v>
                  </c:pt>
                  <c:pt idx="446">
                    <c:v>23</c:v>
                  </c:pt>
                  <c:pt idx="447">
                    <c:v>24</c:v>
                  </c:pt>
                  <c:pt idx="448">
                    <c:v>25</c:v>
                  </c:pt>
                  <c:pt idx="449">
                    <c:v>26</c:v>
                  </c:pt>
                  <c:pt idx="450">
                    <c:v>27</c:v>
                  </c:pt>
                  <c:pt idx="451">
                    <c:v>28</c:v>
                  </c:pt>
                  <c:pt idx="452">
                    <c:v>29</c:v>
                  </c:pt>
                  <c:pt idx="453">
                    <c:v>30</c:v>
                  </c:pt>
                  <c:pt idx="454">
                    <c:v>31</c:v>
                  </c:pt>
                  <c:pt idx="455">
                    <c:v>1</c:v>
                  </c:pt>
                  <c:pt idx="456">
                    <c:v>2</c:v>
                  </c:pt>
                  <c:pt idx="457">
                    <c:v>3</c:v>
                  </c:pt>
                  <c:pt idx="458">
                    <c:v>4</c:v>
                  </c:pt>
                  <c:pt idx="459">
                    <c:v>5</c:v>
                  </c:pt>
                  <c:pt idx="460">
                    <c:v>6</c:v>
                  </c:pt>
                  <c:pt idx="461">
                    <c:v>7</c:v>
                  </c:pt>
                  <c:pt idx="462">
                    <c:v>8</c:v>
                  </c:pt>
                  <c:pt idx="463">
                    <c:v>9</c:v>
                  </c:pt>
                  <c:pt idx="464">
                    <c:v>10</c:v>
                  </c:pt>
                  <c:pt idx="465">
                    <c:v>11</c:v>
                  </c:pt>
                  <c:pt idx="466">
                    <c:v>12</c:v>
                  </c:pt>
                  <c:pt idx="467">
                    <c:v>13</c:v>
                  </c:pt>
                  <c:pt idx="468">
                    <c:v>14</c:v>
                  </c:pt>
                  <c:pt idx="469">
                    <c:v>15</c:v>
                  </c:pt>
                  <c:pt idx="470">
                    <c:v>16</c:v>
                  </c:pt>
                  <c:pt idx="471">
                    <c:v>17</c:v>
                  </c:pt>
                  <c:pt idx="472">
                    <c:v>18</c:v>
                  </c:pt>
                  <c:pt idx="473">
                    <c:v>19</c:v>
                  </c:pt>
                  <c:pt idx="474">
                    <c:v>20</c:v>
                  </c:pt>
                  <c:pt idx="475">
                    <c:v>21</c:v>
                  </c:pt>
                  <c:pt idx="476">
                    <c:v>22</c:v>
                  </c:pt>
                  <c:pt idx="477">
                    <c:v>23</c:v>
                  </c:pt>
                  <c:pt idx="478">
                    <c:v>24</c:v>
                  </c:pt>
                  <c:pt idx="479">
                    <c:v>25</c:v>
                  </c:pt>
                  <c:pt idx="480">
                    <c:v>26</c:v>
                  </c:pt>
                  <c:pt idx="481">
                    <c:v>27</c:v>
                  </c:pt>
                  <c:pt idx="482">
                    <c:v>28</c:v>
                  </c:pt>
                  <c:pt idx="483">
                    <c:v>29</c:v>
                  </c:pt>
                  <c:pt idx="484">
                    <c:v>30</c:v>
                  </c:pt>
                  <c:pt idx="485">
                    <c:v>1</c:v>
                  </c:pt>
                  <c:pt idx="486">
                    <c:v>2</c:v>
                  </c:pt>
                  <c:pt idx="487">
                    <c:v>3</c:v>
                  </c:pt>
                  <c:pt idx="488">
                    <c:v>4</c:v>
                  </c:pt>
                  <c:pt idx="489">
                    <c:v>5</c:v>
                  </c:pt>
                  <c:pt idx="490">
                    <c:v>6</c:v>
                  </c:pt>
                  <c:pt idx="491">
                    <c:v>7</c:v>
                  </c:pt>
                  <c:pt idx="492">
                    <c:v>8</c:v>
                  </c:pt>
                  <c:pt idx="493">
                    <c:v>9</c:v>
                  </c:pt>
                  <c:pt idx="494">
                    <c:v>10</c:v>
                  </c:pt>
                  <c:pt idx="495">
                    <c:v>11</c:v>
                  </c:pt>
                  <c:pt idx="496">
                    <c:v>12</c:v>
                  </c:pt>
                  <c:pt idx="497">
                    <c:v>13</c:v>
                  </c:pt>
                  <c:pt idx="498">
                    <c:v>14</c:v>
                  </c:pt>
                  <c:pt idx="499">
                    <c:v>15</c:v>
                  </c:pt>
                  <c:pt idx="500">
                    <c:v>16</c:v>
                  </c:pt>
                  <c:pt idx="501">
                    <c:v>17</c:v>
                  </c:pt>
                  <c:pt idx="502">
                    <c:v>18</c:v>
                  </c:pt>
                  <c:pt idx="503">
                    <c:v>19</c:v>
                  </c:pt>
                  <c:pt idx="504">
                    <c:v>20</c:v>
                  </c:pt>
                  <c:pt idx="505">
                    <c:v>21</c:v>
                  </c:pt>
                  <c:pt idx="506">
                    <c:v>22</c:v>
                  </c:pt>
                  <c:pt idx="507">
                    <c:v>23</c:v>
                  </c:pt>
                  <c:pt idx="508">
                    <c:v>24</c:v>
                  </c:pt>
                  <c:pt idx="509">
                    <c:v>25</c:v>
                  </c:pt>
                  <c:pt idx="510">
                    <c:v>26</c:v>
                  </c:pt>
                  <c:pt idx="511">
                    <c:v>27</c:v>
                  </c:pt>
                  <c:pt idx="512">
                    <c:v>28</c:v>
                  </c:pt>
                  <c:pt idx="513">
                    <c:v>29</c:v>
                  </c:pt>
                  <c:pt idx="514">
                    <c:v>30</c:v>
                  </c:pt>
                  <c:pt idx="515">
                    <c:v>31</c:v>
                  </c:pt>
                  <c:pt idx="516">
                    <c:v>1</c:v>
                  </c:pt>
                  <c:pt idx="517">
                    <c:v>2</c:v>
                  </c:pt>
                  <c:pt idx="518">
                    <c:v>3</c:v>
                  </c:pt>
                  <c:pt idx="519">
                    <c:v>4</c:v>
                  </c:pt>
                  <c:pt idx="520">
                    <c:v>5</c:v>
                  </c:pt>
                  <c:pt idx="521">
                    <c:v>6</c:v>
                  </c:pt>
                  <c:pt idx="522">
                    <c:v>7</c:v>
                  </c:pt>
                  <c:pt idx="523">
                    <c:v>8</c:v>
                  </c:pt>
                  <c:pt idx="524">
                    <c:v>9</c:v>
                  </c:pt>
                  <c:pt idx="525">
                    <c:v>10</c:v>
                  </c:pt>
                  <c:pt idx="526">
                    <c:v>11</c:v>
                  </c:pt>
                  <c:pt idx="527">
                    <c:v>12</c:v>
                  </c:pt>
                  <c:pt idx="528">
                    <c:v>13</c:v>
                  </c:pt>
                  <c:pt idx="529">
                    <c:v>14</c:v>
                  </c:pt>
                  <c:pt idx="530">
                    <c:v>15</c:v>
                  </c:pt>
                  <c:pt idx="531">
                    <c:v>16</c:v>
                  </c:pt>
                  <c:pt idx="532">
                    <c:v>17</c:v>
                  </c:pt>
                  <c:pt idx="533">
                    <c:v>18</c:v>
                  </c:pt>
                  <c:pt idx="534">
                    <c:v>19</c:v>
                  </c:pt>
                  <c:pt idx="535">
                    <c:v>20</c:v>
                  </c:pt>
                  <c:pt idx="536">
                    <c:v>21</c:v>
                  </c:pt>
                  <c:pt idx="537">
                    <c:v>22</c:v>
                  </c:pt>
                  <c:pt idx="538">
                    <c:v>23</c:v>
                  </c:pt>
                  <c:pt idx="539">
                    <c:v>24</c:v>
                  </c:pt>
                  <c:pt idx="540">
                    <c:v>25</c:v>
                  </c:pt>
                  <c:pt idx="541">
                    <c:v>26</c:v>
                  </c:pt>
                  <c:pt idx="542">
                    <c:v>27</c:v>
                  </c:pt>
                  <c:pt idx="543">
                    <c:v>28</c:v>
                  </c:pt>
                  <c:pt idx="544">
                    <c:v>29</c:v>
                  </c:pt>
                  <c:pt idx="545">
                    <c:v>30</c:v>
                  </c:pt>
                  <c:pt idx="546">
                    <c:v>1</c:v>
                  </c:pt>
                  <c:pt idx="547">
                    <c:v>2</c:v>
                  </c:pt>
                  <c:pt idx="548">
                    <c:v>3</c:v>
                  </c:pt>
                  <c:pt idx="549">
                    <c:v>4</c:v>
                  </c:pt>
                  <c:pt idx="550">
                    <c:v>5</c:v>
                  </c:pt>
                  <c:pt idx="551">
                    <c:v>6</c:v>
                  </c:pt>
                  <c:pt idx="552">
                    <c:v>7</c:v>
                  </c:pt>
                  <c:pt idx="553">
                    <c:v>8</c:v>
                  </c:pt>
                  <c:pt idx="554">
                    <c:v>9</c:v>
                  </c:pt>
                  <c:pt idx="555">
                    <c:v>10</c:v>
                  </c:pt>
                  <c:pt idx="556">
                    <c:v>11</c:v>
                  </c:pt>
                  <c:pt idx="557">
                    <c:v>12</c:v>
                  </c:pt>
                  <c:pt idx="558">
                    <c:v>13</c:v>
                  </c:pt>
                  <c:pt idx="559">
                    <c:v>14</c:v>
                  </c:pt>
                  <c:pt idx="560">
                    <c:v>15</c:v>
                  </c:pt>
                  <c:pt idx="561">
                    <c:v>16</c:v>
                  </c:pt>
                  <c:pt idx="562">
                    <c:v>17</c:v>
                  </c:pt>
                  <c:pt idx="563">
                    <c:v>18</c:v>
                  </c:pt>
                  <c:pt idx="564">
                    <c:v>19</c:v>
                  </c:pt>
                  <c:pt idx="565">
                    <c:v>20</c:v>
                  </c:pt>
                  <c:pt idx="566">
                    <c:v>21</c:v>
                  </c:pt>
                  <c:pt idx="567">
                    <c:v>22</c:v>
                  </c:pt>
                  <c:pt idx="568">
                    <c:v>23</c:v>
                  </c:pt>
                  <c:pt idx="569">
                    <c:v>24</c:v>
                  </c:pt>
                  <c:pt idx="570">
                    <c:v>25</c:v>
                  </c:pt>
                  <c:pt idx="571">
                    <c:v>26</c:v>
                  </c:pt>
                  <c:pt idx="572">
                    <c:v>27</c:v>
                  </c:pt>
                  <c:pt idx="573">
                    <c:v>28</c:v>
                  </c:pt>
                  <c:pt idx="574">
                    <c:v>29</c:v>
                  </c:pt>
                  <c:pt idx="575">
                    <c:v>30</c:v>
                  </c:pt>
                  <c:pt idx="576">
                    <c:v>31</c:v>
                  </c:pt>
                  <c:pt idx="577">
                    <c:v>1</c:v>
                  </c:pt>
                  <c:pt idx="578">
                    <c:v>2</c:v>
                  </c:pt>
                  <c:pt idx="579">
                    <c:v>3</c:v>
                  </c:pt>
                  <c:pt idx="580">
                    <c:v>4</c:v>
                  </c:pt>
                  <c:pt idx="581">
                    <c:v>5</c:v>
                  </c:pt>
                  <c:pt idx="582">
                    <c:v>6</c:v>
                  </c:pt>
                  <c:pt idx="583">
                    <c:v>7</c:v>
                  </c:pt>
                  <c:pt idx="584">
                    <c:v>8</c:v>
                  </c:pt>
                  <c:pt idx="585">
                    <c:v>9</c:v>
                  </c:pt>
                  <c:pt idx="586">
                    <c:v>10</c:v>
                  </c:pt>
                  <c:pt idx="587">
                    <c:v>11</c:v>
                  </c:pt>
                  <c:pt idx="588">
                    <c:v>12</c:v>
                  </c:pt>
                  <c:pt idx="589">
                    <c:v>13</c:v>
                  </c:pt>
                  <c:pt idx="590">
                    <c:v>14</c:v>
                  </c:pt>
                  <c:pt idx="591">
                    <c:v>15</c:v>
                  </c:pt>
                  <c:pt idx="592">
                    <c:v>16</c:v>
                  </c:pt>
                  <c:pt idx="593">
                    <c:v>17</c:v>
                  </c:pt>
                  <c:pt idx="594">
                    <c:v>18</c:v>
                  </c:pt>
                  <c:pt idx="595">
                    <c:v>19</c:v>
                  </c:pt>
                  <c:pt idx="596">
                    <c:v>20</c:v>
                  </c:pt>
                  <c:pt idx="597">
                    <c:v>21</c:v>
                  </c:pt>
                  <c:pt idx="598">
                    <c:v>22</c:v>
                  </c:pt>
                  <c:pt idx="599">
                    <c:v>23</c:v>
                  </c:pt>
                  <c:pt idx="600">
                    <c:v>24</c:v>
                  </c:pt>
                  <c:pt idx="601">
                    <c:v>25</c:v>
                  </c:pt>
                  <c:pt idx="602">
                    <c:v>26</c:v>
                  </c:pt>
                  <c:pt idx="603">
                    <c:v>27</c:v>
                  </c:pt>
                  <c:pt idx="604">
                    <c:v>28</c:v>
                  </c:pt>
                  <c:pt idx="605">
                    <c:v>29</c:v>
                  </c:pt>
                  <c:pt idx="606">
                    <c:v>30</c:v>
                  </c:pt>
                  <c:pt idx="607">
                    <c:v>31</c:v>
                  </c:pt>
                  <c:pt idx="608">
                    <c:v>1</c:v>
                  </c:pt>
                  <c:pt idx="609">
                    <c:v>2</c:v>
                  </c:pt>
                  <c:pt idx="610">
                    <c:v>3</c:v>
                  </c:pt>
                  <c:pt idx="611">
                    <c:v>4</c:v>
                  </c:pt>
                  <c:pt idx="612">
                    <c:v>5</c:v>
                  </c:pt>
                  <c:pt idx="613">
                    <c:v>6</c:v>
                  </c:pt>
                  <c:pt idx="614">
                    <c:v>7</c:v>
                  </c:pt>
                  <c:pt idx="615">
                    <c:v>8</c:v>
                  </c:pt>
                  <c:pt idx="616">
                    <c:v>9</c:v>
                  </c:pt>
                  <c:pt idx="617">
                    <c:v>10</c:v>
                  </c:pt>
                  <c:pt idx="618">
                    <c:v>11</c:v>
                  </c:pt>
                  <c:pt idx="619">
                    <c:v>12</c:v>
                  </c:pt>
                  <c:pt idx="620">
                    <c:v>13</c:v>
                  </c:pt>
                  <c:pt idx="621">
                    <c:v>14</c:v>
                  </c:pt>
                  <c:pt idx="622">
                    <c:v>15</c:v>
                  </c:pt>
                  <c:pt idx="623">
                    <c:v>16</c:v>
                  </c:pt>
                  <c:pt idx="624">
                    <c:v>17</c:v>
                  </c:pt>
                  <c:pt idx="625">
                    <c:v>18</c:v>
                  </c:pt>
                  <c:pt idx="626">
                    <c:v>19</c:v>
                  </c:pt>
                  <c:pt idx="627">
                    <c:v>20</c:v>
                  </c:pt>
                  <c:pt idx="628">
                    <c:v>21</c:v>
                  </c:pt>
                  <c:pt idx="629">
                    <c:v>22</c:v>
                  </c:pt>
                  <c:pt idx="630">
                    <c:v>23</c:v>
                  </c:pt>
                  <c:pt idx="631">
                    <c:v>24</c:v>
                  </c:pt>
                  <c:pt idx="632">
                    <c:v>25</c:v>
                  </c:pt>
                  <c:pt idx="633">
                    <c:v>26</c:v>
                  </c:pt>
                  <c:pt idx="634">
                    <c:v>27</c:v>
                  </c:pt>
                  <c:pt idx="635">
                    <c:v>28</c:v>
                  </c:pt>
                  <c:pt idx="636">
                    <c:v>29</c:v>
                  </c:pt>
                  <c:pt idx="637">
                    <c:v>30</c:v>
                  </c:pt>
                  <c:pt idx="638">
                    <c:v>1</c:v>
                  </c:pt>
                  <c:pt idx="639">
                    <c:v>2</c:v>
                  </c:pt>
                  <c:pt idx="640">
                    <c:v>3</c:v>
                  </c:pt>
                  <c:pt idx="641">
                    <c:v>4</c:v>
                  </c:pt>
                  <c:pt idx="642">
                    <c:v>5</c:v>
                  </c:pt>
                  <c:pt idx="643">
                    <c:v>6</c:v>
                  </c:pt>
                  <c:pt idx="644">
                    <c:v>7</c:v>
                  </c:pt>
                  <c:pt idx="645">
                    <c:v>8</c:v>
                  </c:pt>
                  <c:pt idx="646">
                    <c:v>9</c:v>
                  </c:pt>
                  <c:pt idx="647">
                    <c:v>10</c:v>
                  </c:pt>
                  <c:pt idx="648">
                    <c:v>11</c:v>
                  </c:pt>
                  <c:pt idx="649">
                    <c:v>12</c:v>
                  </c:pt>
                  <c:pt idx="650">
                    <c:v>13</c:v>
                  </c:pt>
                  <c:pt idx="651">
                    <c:v>14</c:v>
                  </c:pt>
                  <c:pt idx="652">
                    <c:v>15</c:v>
                  </c:pt>
                  <c:pt idx="653">
                    <c:v>16</c:v>
                  </c:pt>
                  <c:pt idx="654">
                    <c:v>17</c:v>
                  </c:pt>
                  <c:pt idx="655">
                    <c:v>18</c:v>
                  </c:pt>
                  <c:pt idx="656">
                    <c:v>19</c:v>
                  </c:pt>
                  <c:pt idx="657">
                    <c:v>20</c:v>
                  </c:pt>
                  <c:pt idx="658">
                    <c:v>21</c:v>
                  </c:pt>
                  <c:pt idx="659">
                    <c:v>22</c:v>
                  </c:pt>
                  <c:pt idx="660">
                    <c:v>23</c:v>
                  </c:pt>
                  <c:pt idx="661">
                    <c:v>24</c:v>
                  </c:pt>
                  <c:pt idx="662">
                    <c:v>25</c:v>
                  </c:pt>
                  <c:pt idx="663">
                    <c:v>26</c:v>
                  </c:pt>
                  <c:pt idx="664">
                    <c:v>27</c:v>
                  </c:pt>
                  <c:pt idx="665">
                    <c:v>28</c:v>
                  </c:pt>
                  <c:pt idx="666">
                    <c:v>29</c:v>
                  </c:pt>
                  <c:pt idx="667">
                    <c:v>30</c:v>
                  </c:pt>
                  <c:pt idx="668">
                    <c:v>31</c:v>
                  </c:pt>
                  <c:pt idx="669">
                    <c:v>1</c:v>
                  </c:pt>
                  <c:pt idx="670">
                    <c:v>2</c:v>
                  </c:pt>
                  <c:pt idx="671">
                    <c:v>3</c:v>
                  </c:pt>
                  <c:pt idx="672">
                    <c:v>4</c:v>
                  </c:pt>
                  <c:pt idx="673">
                    <c:v>5</c:v>
                  </c:pt>
                  <c:pt idx="674">
                    <c:v>6</c:v>
                  </c:pt>
                  <c:pt idx="675">
                    <c:v>7</c:v>
                  </c:pt>
                  <c:pt idx="676">
                    <c:v>8</c:v>
                  </c:pt>
                  <c:pt idx="677">
                    <c:v>9</c:v>
                  </c:pt>
                  <c:pt idx="678">
                    <c:v>10</c:v>
                  </c:pt>
                  <c:pt idx="679">
                    <c:v>11</c:v>
                  </c:pt>
                  <c:pt idx="680">
                    <c:v>12</c:v>
                  </c:pt>
                  <c:pt idx="681">
                    <c:v>13</c:v>
                  </c:pt>
                  <c:pt idx="682">
                    <c:v>14</c:v>
                  </c:pt>
                  <c:pt idx="683">
                    <c:v>15</c:v>
                  </c:pt>
                  <c:pt idx="684">
                    <c:v>16</c:v>
                  </c:pt>
                  <c:pt idx="685">
                    <c:v>17</c:v>
                  </c:pt>
                  <c:pt idx="686">
                    <c:v>18</c:v>
                  </c:pt>
                  <c:pt idx="687">
                    <c:v>19</c:v>
                  </c:pt>
                  <c:pt idx="688">
                    <c:v>20</c:v>
                  </c:pt>
                  <c:pt idx="689">
                    <c:v>21</c:v>
                  </c:pt>
                  <c:pt idx="690">
                    <c:v>22</c:v>
                  </c:pt>
                  <c:pt idx="691">
                    <c:v>23</c:v>
                  </c:pt>
                  <c:pt idx="692">
                    <c:v>24</c:v>
                  </c:pt>
                  <c:pt idx="693">
                    <c:v>25</c:v>
                  </c:pt>
                  <c:pt idx="694">
                    <c:v>26</c:v>
                  </c:pt>
                  <c:pt idx="695">
                    <c:v>27</c:v>
                  </c:pt>
                  <c:pt idx="696">
                    <c:v>28</c:v>
                  </c:pt>
                  <c:pt idx="697">
                    <c:v>29</c:v>
                  </c:pt>
                  <c:pt idx="698">
                    <c:v>30</c:v>
                  </c:pt>
                  <c:pt idx="699">
                    <c:v>1</c:v>
                  </c:pt>
                  <c:pt idx="700">
                    <c:v>2</c:v>
                  </c:pt>
                  <c:pt idx="701">
                    <c:v>3</c:v>
                  </c:pt>
                  <c:pt idx="702">
                    <c:v>4</c:v>
                  </c:pt>
                  <c:pt idx="703">
                    <c:v>5</c:v>
                  </c:pt>
                  <c:pt idx="704">
                    <c:v>6</c:v>
                  </c:pt>
                  <c:pt idx="705">
                    <c:v>7</c:v>
                  </c:pt>
                  <c:pt idx="706">
                    <c:v>8</c:v>
                  </c:pt>
                  <c:pt idx="707">
                    <c:v>9</c:v>
                  </c:pt>
                  <c:pt idx="708">
                    <c:v>10</c:v>
                  </c:pt>
                  <c:pt idx="709">
                    <c:v>11</c:v>
                  </c:pt>
                  <c:pt idx="710">
                    <c:v>12</c:v>
                  </c:pt>
                  <c:pt idx="711">
                    <c:v>13</c:v>
                  </c:pt>
                  <c:pt idx="712">
                    <c:v>14</c:v>
                  </c:pt>
                  <c:pt idx="713">
                    <c:v>15</c:v>
                  </c:pt>
                  <c:pt idx="714">
                    <c:v>16</c:v>
                  </c:pt>
                  <c:pt idx="715">
                    <c:v>17</c:v>
                  </c:pt>
                  <c:pt idx="716">
                    <c:v>18</c:v>
                  </c:pt>
                  <c:pt idx="717">
                    <c:v>19</c:v>
                  </c:pt>
                  <c:pt idx="718">
                    <c:v>20</c:v>
                  </c:pt>
                  <c:pt idx="719">
                    <c:v>21</c:v>
                  </c:pt>
                  <c:pt idx="720">
                    <c:v>22</c:v>
                  </c:pt>
                  <c:pt idx="721">
                    <c:v>23</c:v>
                  </c:pt>
                  <c:pt idx="722">
                    <c:v>24</c:v>
                  </c:pt>
                  <c:pt idx="723">
                    <c:v>25</c:v>
                  </c:pt>
                  <c:pt idx="724">
                    <c:v>26</c:v>
                  </c:pt>
                  <c:pt idx="725">
                    <c:v>27</c:v>
                  </c:pt>
                  <c:pt idx="726">
                    <c:v>28</c:v>
                  </c:pt>
                  <c:pt idx="727">
                    <c:v>29</c:v>
                  </c:pt>
                  <c:pt idx="728">
                    <c:v>30</c:v>
                  </c:pt>
                  <c:pt idx="729">
                    <c:v>31</c:v>
                  </c:pt>
                  <c:pt idx="730">
                    <c:v>1</c:v>
                  </c:pt>
                  <c:pt idx="731">
                    <c:v>2</c:v>
                  </c:pt>
                  <c:pt idx="732">
                    <c:v>3</c:v>
                  </c:pt>
                  <c:pt idx="733">
                    <c:v>4</c:v>
                  </c:pt>
                  <c:pt idx="734">
                    <c:v>5</c:v>
                  </c:pt>
                  <c:pt idx="735">
                    <c:v>6</c:v>
                  </c:pt>
                  <c:pt idx="736">
                    <c:v>7</c:v>
                  </c:pt>
                  <c:pt idx="737">
                    <c:v>8</c:v>
                  </c:pt>
                  <c:pt idx="738">
                    <c:v>9</c:v>
                  </c:pt>
                  <c:pt idx="739">
                    <c:v>10</c:v>
                  </c:pt>
                  <c:pt idx="740">
                    <c:v>11</c:v>
                  </c:pt>
                  <c:pt idx="741">
                    <c:v>12</c:v>
                  </c:pt>
                  <c:pt idx="742">
                    <c:v>13</c:v>
                  </c:pt>
                  <c:pt idx="743">
                    <c:v>14</c:v>
                  </c:pt>
                  <c:pt idx="744">
                    <c:v>15</c:v>
                  </c:pt>
                  <c:pt idx="745">
                    <c:v>16</c:v>
                  </c:pt>
                  <c:pt idx="746">
                    <c:v>17</c:v>
                  </c:pt>
                  <c:pt idx="747">
                    <c:v>18</c:v>
                  </c:pt>
                  <c:pt idx="748">
                    <c:v>19</c:v>
                  </c:pt>
                  <c:pt idx="749">
                    <c:v>20</c:v>
                  </c:pt>
                  <c:pt idx="750">
                    <c:v>21</c:v>
                  </c:pt>
                  <c:pt idx="751">
                    <c:v>22</c:v>
                  </c:pt>
                  <c:pt idx="752">
                    <c:v>23</c:v>
                  </c:pt>
                  <c:pt idx="753">
                    <c:v>24</c:v>
                  </c:pt>
                  <c:pt idx="754">
                    <c:v>25</c:v>
                  </c:pt>
                  <c:pt idx="755">
                    <c:v>26</c:v>
                  </c:pt>
                  <c:pt idx="756">
                    <c:v>27</c:v>
                  </c:pt>
                  <c:pt idx="757">
                    <c:v>28</c:v>
                  </c:pt>
                  <c:pt idx="758">
                    <c:v>29</c:v>
                  </c:pt>
                  <c:pt idx="759">
                    <c:v>30</c:v>
                  </c:pt>
                  <c:pt idx="760">
                    <c:v>31</c:v>
                  </c:pt>
                  <c:pt idx="761">
                    <c:v>1</c:v>
                  </c:pt>
                  <c:pt idx="762">
                    <c:v>2</c:v>
                  </c:pt>
                  <c:pt idx="763">
                    <c:v>3</c:v>
                  </c:pt>
                  <c:pt idx="764">
                    <c:v>4</c:v>
                  </c:pt>
                  <c:pt idx="765">
                    <c:v>5</c:v>
                  </c:pt>
                  <c:pt idx="766">
                    <c:v>6</c:v>
                  </c:pt>
                  <c:pt idx="767">
                    <c:v>7</c:v>
                  </c:pt>
                  <c:pt idx="768">
                    <c:v>8</c:v>
                  </c:pt>
                  <c:pt idx="769">
                    <c:v>9</c:v>
                  </c:pt>
                  <c:pt idx="770">
                    <c:v>10</c:v>
                  </c:pt>
                  <c:pt idx="771">
                    <c:v>11</c:v>
                  </c:pt>
                  <c:pt idx="772">
                    <c:v>12</c:v>
                  </c:pt>
                  <c:pt idx="773">
                    <c:v>13</c:v>
                  </c:pt>
                  <c:pt idx="774">
                    <c:v>14</c:v>
                  </c:pt>
                  <c:pt idx="775">
                    <c:v>15</c:v>
                  </c:pt>
                  <c:pt idx="776">
                    <c:v>16</c:v>
                  </c:pt>
                  <c:pt idx="777">
                    <c:v>17</c:v>
                  </c:pt>
                  <c:pt idx="778">
                    <c:v>18</c:v>
                  </c:pt>
                  <c:pt idx="779">
                    <c:v>19</c:v>
                  </c:pt>
                  <c:pt idx="780">
                    <c:v>20</c:v>
                  </c:pt>
                  <c:pt idx="781">
                    <c:v>21</c:v>
                  </c:pt>
                  <c:pt idx="782">
                    <c:v>22</c:v>
                  </c:pt>
                  <c:pt idx="783">
                    <c:v>23</c:v>
                  </c:pt>
                  <c:pt idx="784">
                    <c:v>24</c:v>
                  </c:pt>
                  <c:pt idx="785">
                    <c:v>25</c:v>
                  </c:pt>
                  <c:pt idx="786">
                    <c:v>26</c:v>
                  </c:pt>
                  <c:pt idx="787">
                    <c:v>27</c:v>
                  </c:pt>
                  <c:pt idx="788">
                    <c:v>28</c:v>
                  </c:pt>
                  <c:pt idx="789">
                    <c:v>1</c:v>
                  </c:pt>
                  <c:pt idx="790">
                    <c:v>2</c:v>
                  </c:pt>
                  <c:pt idx="791">
                    <c:v>3</c:v>
                  </c:pt>
                  <c:pt idx="792">
                    <c:v>4</c:v>
                  </c:pt>
                  <c:pt idx="793">
                    <c:v>5</c:v>
                  </c:pt>
                  <c:pt idx="794">
                    <c:v>6</c:v>
                  </c:pt>
                  <c:pt idx="795">
                    <c:v>7</c:v>
                  </c:pt>
                  <c:pt idx="796">
                    <c:v>8</c:v>
                  </c:pt>
                  <c:pt idx="797">
                    <c:v>9</c:v>
                  </c:pt>
                  <c:pt idx="798">
                    <c:v>10</c:v>
                  </c:pt>
                  <c:pt idx="799">
                    <c:v>11</c:v>
                  </c:pt>
                  <c:pt idx="800">
                    <c:v>12</c:v>
                  </c:pt>
                  <c:pt idx="801">
                    <c:v>13</c:v>
                  </c:pt>
                  <c:pt idx="802">
                    <c:v>14</c:v>
                  </c:pt>
                  <c:pt idx="803">
                    <c:v>15</c:v>
                  </c:pt>
                  <c:pt idx="804">
                    <c:v>16</c:v>
                  </c:pt>
                  <c:pt idx="805">
                    <c:v>17</c:v>
                  </c:pt>
                  <c:pt idx="806">
                    <c:v>18</c:v>
                  </c:pt>
                  <c:pt idx="807">
                    <c:v>19</c:v>
                  </c:pt>
                  <c:pt idx="808">
                    <c:v>20</c:v>
                  </c:pt>
                  <c:pt idx="809">
                    <c:v>21</c:v>
                  </c:pt>
                  <c:pt idx="810">
                    <c:v>22</c:v>
                  </c:pt>
                  <c:pt idx="811">
                    <c:v>23</c:v>
                  </c:pt>
                  <c:pt idx="812">
                    <c:v>24</c:v>
                  </c:pt>
                  <c:pt idx="813">
                    <c:v>25</c:v>
                  </c:pt>
                  <c:pt idx="814">
                    <c:v>26</c:v>
                  </c:pt>
                  <c:pt idx="815">
                    <c:v>27</c:v>
                  </c:pt>
                  <c:pt idx="816">
                    <c:v>28</c:v>
                  </c:pt>
                  <c:pt idx="817">
                    <c:v>29</c:v>
                  </c:pt>
                  <c:pt idx="818">
                    <c:v>30</c:v>
                  </c:pt>
                  <c:pt idx="819">
                    <c:v>31</c:v>
                  </c:pt>
                  <c:pt idx="820">
                    <c:v>1</c:v>
                  </c:pt>
                  <c:pt idx="821">
                    <c:v>2</c:v>
                  </c:pt>
                  <c:pt idx="822">
                    <c:v>3</c:v>
                  </c:pt>
                  <c:pt idx="823">
                    <c:v>4</c:v>
                  </c:pt>
                  <c:pt idx="824">
                    <c:v>5</c:v>
                  </c:pt>
                  <c:pt idx="825">
                    <c:v>6</c:v>
                  </c:pt>
                  <c:pt idx="826">
                    <c:v>7</c:v>
                  </c:pt>
                  <c:pt idx="827">
                    <c:v>8</c:v>
                  </c:pt>
                  <c:pt idx="828">
                    <c:v>9</c:v>
                  </c:pt>
                  <c:pt idx="829">
                    <c:v>10</c:v>
                  </c:pt>
                  <c:pt idx="830">
                    <c:v>11</c:v>
                  </c:pt>
                  <c:pt idx="831">
                    <c:v>12</c:v>
                  </c:pt>
                  <c:pt idx="832">
                    <c:v>13</c:v>
                  </c:pt>
                  <c:pt idx="833">
                    <c:v>14</c:v>
                  </c:pt>
                  <c:pt idx="834">
                    <c:v>15</c:v>
                  </c:pt>
                  <c:pt idx="835">
                    <c:v>16</c:v>
                  </c:pt>
                  <c:pt idx="836">
                    <c:v>17</c:v>
                  </c:pt>
                  <c:pt idx="837">
                    <c:v>18</c:v>
                  </c:pt>
                  <c:pt idx="838">
                    <c:v>19</c:v>
                  </c:pt>
                  <c:pt idx="839">
                    <c:v>20</c:v>
                  </c:pt>
                  <c:pt idx="840">
                    <c:v>21</c:v>
                  </c:pt>
                  <c:pt idx="841">
                    <c:v>22</c:v>
                  </c:pt>
                  <c:pt idx="842">
                    <c:v>23</c:v>
                  </c:pt>
                  <c:pt idx="843">
                    <c:v>24</c:v>
                  </c:pt>
                  <c:pt idx="844">
                    <c:v>25</c:v>
                  </c:pt>
                  <c:pt idx="845">
                    <c:v>26</c:v>
                  </c:pt>
                  <c:pt idx="846">
                    <c:v>27</c:v>
                  </c:pt>
                  <c:pt idx="847">
                    <c:v>28</c:v>
                  </c:pt>
                  <c:pt idx="848">
                    <c:v>29</c:v>
                  </c:pt>
                  <c:pt idx="849">
                    <c:v>30</c:v>
                  </c:pt>
                  <c:pt idx="850">
                    <c:v>1</c:v>
                  </c:pt>
                  <c:pt idx="851">
                    <c:v>2</c:v>
                  </c:pt>
                  <c:pt idx="852">
                    <c:v>3</c:v>
                  </c:pt>
                  <c:pt idx="853">
                    <c:v>4</c:v>
                  </c:pt>
                  <c:pt idx="854">
                    <c:v>5</c:v>
                  </c:pt>
                  <c:pt idx="855">
                    <c:v>6</c:v>
                  </c:pt>
                  <c:pt idx="856">
                    <c:v>7</c:v>
                  </c:pt>
                  <c:pt idx="857">
                    <c:v>8</c:v>
                  </c:pt>
                  <c:pt idx="858">
                    <c:v>9</c:v>
                  </c:pt>
                  <c:pt idx="859">
                    <c:v>10</c:v>
                  </c:pt>
                  <c:pt idx="860">
                    <c:v>11</c:v>
                  </c:pt>
                  <c:pt idx="861">
                    <c:v>12</c:v>
                  </c:pt>
                  <c:pt idx="862">
                    <c:v>13</c:v>
                  </c:pt>
                  <c:pt idx="863">
                    <c:v>14</c:v>
                  </c:pt>
                  <c:pt idx="864">
                    <c:v>15</c:v>
                  </c:pt>
                  <c:pt idx="865">
                    <c:v>16</c:v>
                  </c:pt>
                  <c:pt idx="866">
                    <c:v>17</c:v>
                  </c:pt>
                  <c:pt idx="867">
                    <c:v>18</c:v>
                  </c:pt>
                  <c:pt idx="868">
                    <c:v>19</c:v>
                  </c:pt>
                  <c:pt idx="869">
                    <c:v>20</c:v>
                  </c:pt>
                  <c:pt idx="870">
                    <c:v>21</c:v>
                  </c:pt>
                  <c:pt idx="871">
                    <c:v>22</c:v>
                  </c:pt>
                  <c:pt idx="872">
                    <c:v>23</c:v>
                  </c:pt>
                  <c:pt idx="873">
                    <c:v>24</c:v>
                  </c:pt>
                  <c:pt idx="874">
                    <c:v>25</c:v>
                  </c:pt>
                  <c:pt idx="875">
                    <c:v>26</c:v>
                  </c:pt>
                  <c:pt idx="876">
                    <c:v>27</c:v>
                  </c:pt>
                  <c:pt idx="877">
                    <c:v>28</c:v>
                  </c:pt>
                  <c:pt idx="878">
                    <c:v>29</c:v>
                  </c:pt>
                  <c:pt idx="879">
                    <c:v>30</c:v>
                  </c:pt>
                  <c:pt idx="880">
                    <c:v>31</c:v>
                  </c:pt>
                  <c:pt idx="881">
                    <c:v>1</c:v>
                  </c:pt>
                  <c:pt idx="882">
                    <c:v>2</c:v>
                  </c:pt>
                  <c:pt idx="883">
                    <c:v>3</c:v>
                  </c:pt>
                  <c:pt idx="884">
                    <c:v>4</c:v>
                  </c:pt>
                  <c:pt idx="885">
                    <c:v>5</c:v>
                  </c:pt>
                  <c:pt idx="886">
                    <c:v>6</c:v>
                  </c:pt>
                  <c:pt idx="887">
                    <c:v>7</c:v>
                  </c:pt>
                  <c:pt idx="888">
                    <c:v>8</c:v>
                  </c:pt>
                  <c:pt idx="889">
                    <c:v>9</c:v>
                  </c:pt>
                  <c:pt idx="890">
                    <c:v>10</c:v>
                  </c:pt>
                  <c:pt idx="891">
                    <c:v>11</c:v>
                  </c:pt>
                  <c:pt idx="892">
                    <c:v>12</c:v>
                  </c:pt>
                  <c:pt idx="893">
                    <c:v>13</c:v>
                  </c:pt>
                  <c:pt idx="894">
                    <c:v>14</c:v>
                  </c:pt>
                  <c:pt idx="895">
                    <c:v>15</c:v>
                  </c:pt>
                  <c:pt idx="896">
                    <c:v>16</c:v>
                  </c:pt>
                  <c:pt idx="897">
                    <c:v>17</c:v>
                  </c:pt>
                  <c:pt idx="898">
                    <c:v>18</c:v>
                  </c:pt>
                  <c:pt idx="899">
                    <c:v>19</c:v>
                  </c:pt>
                  <c:pt idx="900">
                    <c:v>20</c:v>
                  </c:pt>
                  <c:pt idx="901">
                    <c:v>21</c:v>
                  </c:pt>
                  <c:pt idx="902">
                    <c:v>22</c:v>
                  </c:pt>
                  <c:pt idx="903">
                    <c:v>23</c:v>
                  </c:pt>
                  <c:pt idx="904">
                    <c:v>24</c:v>
                  </c:pt>
                  <c:pt idx="905">
                    <c:v>25</c:v>
                  </c:pt>
                  <c:pt idx="906">
                    <c:v>26</c:v>
                  </c:pt>
                  <c:pt idx="907">
                    <c:v>27</c:v>
                  </c:pt>
                  <c:pt idx="908">
                    <c:v>28</c:v>
                  </c:pt>
                  <c:pt idx="909">
                    <c:v>29</c:v>
                  </c:pt>
                  <c:pt idx="910">
                    <c:v>30</c:v>
                  </c:pt>
                  <c:pt idx="911">
                    <c:v>1</c:v>
                  </c:pt>
                  <c:pt idx="912">
                    <c:v>2</c:v>
                  </c:pt>
                  <c:pt idx="913">
                    <c:v>3</c:v>
                  </c:pt>
                  <c:pt idx="914">
                    <c:v>4</c:v>
                  </c:pt>
                  <c:pt idx="915">
                    <c:v>5</c:v>
                  </c:pt>
                  <c:pt idx="916">
                    <c:v>6</c:v>
                  </c:pt>
                  <c:pt idx="917">
                    <c:v>7</c:v>
                  </c:pt>
                  <c:pt idx="918">
                    <c:v>8</c:v>
                  </c:pt>
                  <c:pt idx="919">
                    <c:v>9</c:v>
                  </c:pt>
                  <c:pt idx="920">
                    <c:v>10</c:v>
                  </c:pt>
                  <c:pt idx="921">
                    <c:v>11</c:v>
                  </c:pt>
                  <c:pt idx="922">
                    <c:v>12</c:v>
                  </c:pt>
                  <c:pt idx="923">
                    <c:v>13</c:v>
                  </c:pt>
                  <c:pt idx="924">
                    <c:v>14</c:v>
                  </c:pt>
                  <c:pt idx="925">
                    <c:v>15</c:v>
                  </c:pt>
                  <c:pt idx="926">
                    <c:v>16</c:v>
                  </c:pt>
                  <c:pt idx="927">
                    <c:v>17</c:v>
                  </c:pt>
                  <c:pt idx="928">
                    <c:v>18</c:v>
                  </c:pt>
                  <c:pt idx="929">
                    <c:v>19</c:v>
                  </c:pt>
                  <c:pt idx="930">
                    <c:v>20</c:v>
                  </c:pt>
                  <c:pt idx="931">
                    <c:v>21</c:v>
                  </c:pt>
                  <c:pt idx="932">
                    <c:v>22</c:v>
                  </c:pt>
                  <c:pt idx="933">
                    <c:v>23</c:v>
                  </c:pt>
                  <c:pt idx="934">
                    <c:v>24</c:v>
                  </c:pt>
                  <c:pt idx="935">
                    <c:v>25</c:v>
                  </c:pt>
                  <c:pt idx="936">
                    <c:v>26</c:v>
                  </c:pt>
                  <c:pt idx="937">
                    <c:v>27</c:v>
                  </c:pt>
                  <c:pt idx="938">
                    <c:v>28</c:v>
                  </c:pt>
                  <c:pt idx="939">
                    <c:v>29</c:v>
                  </c:pt>
                  <c:pt idx="940">
                    <c:v>30</c:v>
                  </c:pt>
                  <c:pt idx="941">
                    <c:v>31</c:v>
                  </c:pt>
                  <c:pt idx="942">
                    <c:v>1</c:v>
                  </c:pt>
                  <c:pt idx="943">
                    <c:v>2</c:v>
                  </c:pt>
                  <c:pt idx="944">
                    <c:v>3</c:v>
                  </c:pt>
                  <c:pt idx="945">
                    <c:v>4</c:v>
                  </c:pt>
                  <c:pt idx="946">
                    <c:v>5</c:v>
                  </c:pt>
                  <c:pt idx="947">
                    <c:v>6</c:v>
                  </c:pt>
                  <c:pt idx="948">
                    <c:v>7</c:v>
                  </c:pt>
                  <c:pt idx="949">
                    <c:v>8</c:v>
                  </c:pt>
                  <c:pt idx="950">
                    <c:v>9</c:v>
                  </c:pt>
                  <c:pt idx="951">
                    <c:v>10</c:v>
                  </c:pt>
                  <c:pt idx="952">
                    <c:v>11</c:v>
                  </c:pt>
                  <c:pt idx="953">
                    <c:v>12</c:v>
                  </c:pt>
                  <c:pt idx="954">
                    <c:v>13</c:v>
                  </c:pt>
                  <c:pt idx="955">
                    <c:v>14</c:v>
                  </c:pt>
                  <c:pt idx="956">
                    <c:v>15</c:v>
                  </c:pt>
                  <c:pt idx="957">
                    <c:v>16</c:v>
                  </c:pt>
                  <c:pt idx="958">
                    <c:v>17</c:v>
                  </c:pt>
                  <c:pt idx="959">
                    <c:v>18</c:v>
                  </c:pt>
                  <c:pt idx="960">
                    <c:v>19</c:v>
                  </c:pt>
                  <c:pt idx="961">
                    <c:v>20</c:v>
                  </c:pt>
                  <c:pt idx="962">
                    <c:v>21</c:v>
                  </c:pt>
                  <c:pt idx="963">
                    <c:v>22</c:v>
                  </c:pt>
                  <c:pt idx="964">
                    <c:v>23</c:v>
                  </c:pt>
                  <c:pt idx="965">
                    <c:v>24</c:v>
                  </c:pt>
                  <c:pt idx="966">
                    <c:v>25</c:v>
                  </c:pt>
                  <c:pt idx="967">
                    <c:v>26</c:v>
                  </c:pt>
                  <c:pt idx="968">
                    <c:v>27</c:v>
                  </c:pt>
                  <c:pt idx="969">
                    <c:v>28</c:v>
                  </c:pt>
                  <c:pt idx="970">
                    <c:v>29</c:v>
                  </c:pt>
                  <c:pt idx="971">
                    <c:v>30</c:v>
                  </c:pt>
                  <c:pt idx="972">
                    <c:v>31</c:v>
                  </c:pt>
                  <c:pt idx="973">
                    <c:v>1</c:v>
                  </c:pt>
                  <c:pt idx="974">
                    <c:v>2</c:v>
                  </c:pt>
                  <c:pt idx="975">
                    <c:v>3</c:v>
                  </c:pt>
                  <c:pt idx="976">
                    <c:v>4</c:v>
                  </c:pt>
                  <c:pt idx="977">
                    <c:v>5</c:v>
                  </c:pt>
                  <c:pt idx="978">
                    <c:v>6</c:v>
                  </c:pt>
                  <c:pt idx="979">
                    <c:v>7</c:v>
                  </c:pt>
                </c:lvl>
                <c:lvl>
                  <c:pt idx="0">
                    <c:v>1</c:v>
                  </c:pt>
                  <c:pt idx="31">
                    <c:v>2</c:v>
                  </c:pt>
                  <c:pt idx="59">
                    <c:v>3</c:v>
                  </c:pt>
                  <c:pt idx="90">
                    <c:v>4</c:v>
                  </c:pt>
                  <c:pt idx="120">
                    <c:v>5</c:v>
                  </c:pt>
                  <c:pt idx="151">
                    <c:v>6</c:v>
                  </c:pt>
                  <c:pt idx="181">
                    <c:v>7</c:v>
                  </c:pt>
                  <c:pt idx="212">
                    <c:v>8</c:v>
                  </c:pt>
                  <c:pt idx="243">
                    <c:v>9</c:v>
                  </c:pt>
                  <c:pt idx="273">
                    <c:v>10</c:v>
                  </c:pt>
                  <c:pt idx="304">
                    <c:v>11</c:v>
                  </c:pt>
                  <c:pt idx="334">
                    <c:v>12</c:v>
                  </c:pt>
                  <c:pt idx="365">
                    <c:v>1</c:v>
                  </c:pt>
                  <c:pt idx="396">
                    <c:v>2</c:v>
                  </c:pt>
                  <c:pt idx="424">
                    <c:v>3</c:v>
                  </c:pt>
                  <c:pt idx="455">
                    <c:v>4</c:v>
                  </c:pt>
                  <c:pt idx="485">
                    <c:v>5</c:v>
                  </c:pt>
                  <c:pt idx="516">
                    <c:v>6</c:v>
                  </c:pt>
                  <c:pt idx="546">
                    <c:v>7</c:v>
                  </c:pt>
                  <c:pt idx="577">
                    <c:v>8</c:v>
                  </c:pt>
                  <c:pt idx="608">
                    <c:v>9</c:v>
                  </c:pt>
                  <c:pt idx="638">
                    <c:v>10</c:v>
                  </c:pt>
                  <c:pt idx="669">
                    <c:v>11</c:v>
                  </c:pt>
                  <c:pt idx="699">
                    <c:v>12</c:v>
                  </c:pt>
                  <c:pt idx="730">
                    <c:v>1</c:v>
                  </c:pt>
                  <c:pt idx="761">
                    <c:v>2</c:v>
                  </c:pt>
                  <c:pt idx="789">
                    <c:v>3</c:v>
                  </c:pt>
                  <c:pt idx="820">
                    <c:v>4</c:v>
                  </c:pt>
                  <c:pt idx="850">
                    <c:v>5</c:v>
                  </c:pt>
                  <c:pt idx="881">
                    <c:v>6</c:v>
                  </c:pt>
                  <c:pt idx="911">
                    <c:v>7</c:v>
                  </c:pt>
                  <c:pt idx="942">
                    <c:v>8</c:v>
                  </c:pt>
                  <c:pt idx="973">
                    <c:v>9</c:v>
                  </c:pt>
                </c:lvl>
                <c:lvl>
                  <c:pt idx="0">
                    <c:v>2002</c:v>
                  </c:pt>
                  <c:pt idx="365">
                    <c:v>2018</c:v>
                  </c:pt>
                  <c:pt idx="730">
                    <c:v>2023</c:v>
                  </c:pt>
                </c:lvl>
              </c:multiLvlStrCache>
            </c:multiLvlStrRef>
          </c:cat>
          <c:val>
            <c:numRef>
              <c:f>Tabelle1!$D$2:$D$1018</c:f>
              <c:numCache>
                <c:formatCode>General</c:formatCode>
                <c:ptCount val="980"/>
                <c:pt idx="0">
                  <c:v>14.931666666666667</c:v>
                </c:pt>
                <c:pt idx="1">
                  <c:v>28.747916666666669</c:v>
                </c:pt>
                <c:pt idx="2">
                  <c:v>31.267083333333332</c:v>
                </c:pt>
                <c:pt idx="3">
                  <c:v>34.210833333333341</c:v>
                </c:pt>
                <c:pt idx="4">
                  <c:v>27.526666666666671</c:v>
                </c:pt>
                <c:pt idx="5">
                  <c:v>20.64</c:v>
                </c:pt>
                <c:pt idx="6">
                  <c:v>47.45333333333334</c:v>
                </c:pt>
                <c:pt idx="7">
                  <c:v>61.00083333333334</c:v>
                </c:pt>
                <c:pt idx="8">
                  <c:v>51.98458333333334</c:v>
                </c:pt>
                <c:pt idx="9">
                  <c:v>50.063749999999999</c:v>
                </c:pt>
                <c:pt idx="10">
                  <c:v>42.691249999999997</c:v>
                </c:pt>
                <c:pt idx="11">
                  <c:v>32.795000000000009</c:v>
                </c:pt>
                <c:pt idx="12">
                  <c:v>26.414999999999996</c:v>
                </c:pt>
                <c:pt idx="13">
                  <c:v>37.89875</c:v>
                </c:pt>
                <c:pt idx="14">
                  <c:v>34.052083333333343</c:v>
                </c:pt>
                <c:pt idx="15">
                  <c:v>33.922083333333326</c:v>
                </c:pt>
                <c:pt idx="16">
                  <c:v>34.434166666666663</c:v>
                </c:pt>
                <c:pt idx="17">
                  <c:v>31.665416666666655</c:v>
                </c:pt>
                <c:pt idx="18">
                  <c:v>16.533333333333339</c:v>
                </c:pt>
                <c:pt idx="19">
                  <c:v>16.111250000000002</c:v>
                </c:pt>
                <c:pt idx="20">
                  <c:v>27.633749999999996</c:v>
                </c:pt>
                <c:pt idx="21">
                  <c:v>28.249166666666671</c:v>
                </c:pt>
                <c:pt idx="22">
                  <c:v>24.074999999999999</c:v>
                </c:pt>
                <c:pt idx="23">
                  <c:v>25.40666666666667</c:v>
                </c:pt>
                <c:pt idx="24">
                  <c:v>24.706249999999994</c:v>
                </c:pt>
                <c:pt idx="25">
                  <c:v>18.240416666666672</c:v>
                </c:pt>
                <c:pt idx="26">
                  <c:v>15.807083333333333</c:v>
                </c:pt>
                <c:pt idx="27">
                  <c:v>24.517499999999998</c:v>
                </c:pt>
                <c:pt idx="28">
                  <c:v>17.897083333333335</c:v>
                </c:pt>
                <c:pt idx="29">
                  <c:v>23.389166666666668</c:v>
                </c:pt>
                <c:pt idx="30">
                  <c:v>20.987500000000001</c:v>
                </c:pt>
                <c:pt idx="31">
                  <c:v>20.932500000000001</c:v>
                </c:pt>
                <c:pt idx="32">
                  <c:v>15.22291666666667</c:v>
                </c:pt>
                <c:pt idx="33">
                  <c:v>11.46</c:v>
                </c:pt>
                <c:pt idx="34">
                  <c:v>21.125</c:v>
                </c:pt>
                <c:pt idx="35">
                  <c:v>21.135000000000002</c:v>
                </c:pt>
                <c:pt idx="36">
                  <c:v>20.945416666666663</c:v>
                </c:pt>
                <c:pt idx="37">
                  <c:v>20.572916666666668</c:v>
                </c:pt>
                <c:pt idx="38">
                  <c:v>18.91791666666667</c:v>
                </c:pt>
                <c:pt idx="39">
                  <c:v>17.197083333333332</c:v>
                </c:pt>
                <c:pt idx="40">
                  <c:v>13.755416666666669</c:v>
                </c:pt>
                <c:pt idx="41">
                  <c:v>18.860416666666669</c:v>
                </c:pt>
                <c:pt idx="42">
                  <c:v>16.522500000000001</c:v>
                </c:pt>
                <c:pt idx="43">
                  <c:v>22.202083333333338</c:v>
                </c:pt>
                <c:pt idx="44">
                  <c:v>24.033749999999994</c:v>
                </c:pt>
                <c:pt idx="45">
                  <c:v>18.622916666666665</c:v>
                </c:pt>
                <c:pt idx="46">
                  <c:v>22.844583333333336</c:v>
                </c:pt>
                <c:pt idx="47">
                  <c:v>18.302499999999998</c:v>
                </c:pt>
                <c:pt idx="48">
                  <c:v>22.983750000000004</c:v>
                </c:pt>
                <c:pt idx="49">
                  <c:v>22.068749999999998</c:v>
                </c:pt>
                <c:pt idx="50">
                  <c:v>22.906666666666666</c:v>
                </c:pt>
                <c:pt idx="51">
                  <c:v>25.696666666666669</c:v>
                </c:pt>
                <c:pt idx="52">
                  <c:v>21.760833333333334</c:v>
                </c:pt>
                <c:pt idx="53">
                  <c:v>18.892916666666668</c:v>
                </c:pt>
                <c:pt idx="54">
                  <c:v>18.900000000000002</c:v>
                </c:pt>
                <c:pt idx="55">
                  <c:v>24.043333333333333</c:v>
                </c:pt>
                <c:pt idx="56">
                  <c:v>22.588333333333335</c:v>
                </c:pt>
                <c:pt idx="57">
                  <c:v>19.979583333333334</c:v>
                </c:pt>
                <c:pt idx="58">
                  <c:v>22.969166666666666</c:v>
                </c:pt>
                <c:pt idx="59">
                  <c:v>27.827499999999997</c:v>
                </c:pt>
                <c:pt idx="60">
                  <c:v>18.561249999999998</c:v>
                </c:pt>
                <c:pt idx="61">
                  <c:v>15.069583333333334</c:v>
                </c:pt>
                <c:pt idx="62">
                  <c:v>23.701666666666668</c:v>
                </c:pt>
                <c:pt idx="63">
                  <c:v>24.740416666666661</c:v>
                </c:pt>
                <c:pt idx="64">
                  <c:v>22.791666666666668</c:v>
                </c:pt>
                <c:pt idx="65">
                  <c:v>21.466250000000002</c:v>
                </c:pt>
                <c:pt idx="66">
                  <c:v>20.700416666666669</c:v>
                </c:pt>
                <c:pt idx="67">
                  <c:v>21.225000000000001</c:v>
                </c:pt>
                <c:pt idx="68">
                  <c:v>17.162916666666668</c:v>
                </c:pt>
                <c:pt idx="69">
                  <c:v>22.155416666666667</c:v>
                </c:pt>
                <c:pt idx="70">
                  <c:v>22.153333333333332</c:v>
                </c:pt>
                <c:pt idx="71">
                  <c:v>19.956666666666667</c:v>
                </c:pt>
                <c:pt idx="72">
                  <c:v>21.68708333333333</c:v>
                </c:pt>
                <c:pt idx="73">
                  <c:v>18.278333333333332</c:v>
                </c:pt>
                <c:pt idx="74">
                  <c:v>17.527916666666666</c:v>
                </c:pt>
                <c:pt idx="75">
                  <c:v>14.215000000000003</c:v>
                </c:pt>
                <c:pt idx="76">
                  <c:v>20.766666666666669</c:v>
                </c:pt>
                <c:pt idx="77">
                  <c:v>19.180833333333336</c:v>
                </c:pt>
                <c:pt idx="78">
                  <c:v>19.900416666666668</c:v>
                </c:pt>
                <c:pt idx="79">
                  <c:v>18.59333333333333</c:v>
                </c:pt>
                <c:pt idx="80">
                  <c:v>19.149999999999999</c:v>
                </c:pt>
                <c:pt idx="81">
                  <c:v>14.872500000000002</c:v>
                </c:pt>
                <c:pt idx="82">
                  <c:v>11.363750000000001</c:v>
                </c:pt>
                <c:pt idx="83">
                  <c:v>21.147500000000001</c:v>
                </c:pt>
                <c:pt idx="84">
                  <c:v>24.415416666666669</c:v>
                </c:pt>
                <c:pt idx="85">
                  <c:v>23.97583333333333</c:v>
                </c:pt>
                <c:pt idx="86">
                  <c:v>22.282499999999999</c:v>
                </c:pt>
                <c:pt idx="87">
                  <c:v>16.266666666666669</c:v>
                </c:pt>
                <c:pt idx="88">
                  <c:v>14.890833333333333</c:v>
                </c:pt>
                <c:pt idx="89">
                  <c:v>8.6437499999999989</c:v>
                </c:pt>
                <c:pt idx="90">
                  <c:v>7.9441666666666668</c:v>
                </c:pt>
                <c:pt idx="91">
                  <c:v>20.135833333333331</c:v>
                </c:pt>
                <c:pt idx="92">
                  <c:v>18.950416666666669</c:v>
                </c:pt>
                <c:pt idx="93">
                  <c:v>20.587916666666665</c:v>
                </c:pt>
                <c:pt idx="94">
                  <c:v>19.160416666666666</c:v>
                </c:pt>
                <c:pt idx="95">
                  <c:v>19.399583333333336</c:v>
                </c:pt>
                <c:pt idx="96">
                  <c:v>15.307499999999996</c:v>
                </c:pt>
                <c:pt idx="97">
                  <c:v>27.987500000000008</c:v>
                </c:pt>
                <c:pt idx="98">
                  <c:v>25.018333333333334</c:v>
                </c:pt>
                <c:pt idx="99">
                  <c:v>25.708333333333329</c:v>
                </c:pt>
                <c:pt idx="100">
                  <c:v>29.03125</c:v>
                </c:pt>
                <c:pt idx="101">
                  <c:v>27.425416666666674</c:v>
                </c:pt>
                <c:pt idx="102">
                  <c:v>17.915416666666669</c:v>
                </c:pt>
                <c:pt idx="103">
                  <c:v>15.511666666666668</c:v>
                </c:pt>
                <c:pt idx="104">
                  <c:v>27.366249999999994</c:v>
                </c:pt>
                <c:pt idx="105">
                  <c:v>30.542916666666667</c:v>
                </c:pt>
                <c:pt idx="106">
                  <c:v>30.395833333333329</c:v>
                </c:pt>
                <c:pt idx="107">
                  <c:v>27.892916666666661</c:v>
                </c:pt>
                <c:pt idx="108">
                  <c:v>25.74958333333333</c:v>
                </c:pt>
                <c:pt idx="109">
                  <c:v>22.838333333333328</c:v>
                </c:pt>
                <c:pt idx="110">
                  <c:v>15.447500000000003</c:v>
                </c:pt>
                <c:pt idx="111">
                  <c:v>24.177083333333339</c:v>
                </c:pt>
                <c:pt idx="112">
                  <c:v>26.76166666666667</c:v>
                </c:pt>
                <c:pt idx="113">
                  <c:v>27.970833333333331</c:v>
                </c:pt>
                <c:pt idx="114">
                  <c:v>24.345416666666665</c:v>
                </c:pt>
                <c:pt idx="115">
                  <c:v>19.739583333333336</c:v>
                </c:pt>
                <c:pt idx="116">
                  <c:v>14.5625</c:v>
                </c:pt>
                <c:pt idx="117">
                  <c:v>11.516250000000001</c:v>
                </c:pt>
                <c:pt idx="118">
                  <c:v>21.358333333333334</c:v>
                </c:pt>
                <c:pt idx="119">
                  <c:v>20.210416666666671</c:v>
                </c:pt>
                <c:pt idx="120">
                  <c:v>11.830416666666666</c:v>
                </c:pt>
                <c:pt idx="121">
                  <c:v>24.356666666666669</c:v>
                </c:pt>
                <c:pt idx="122">
                  <c:v>22.843333333333334</c:v>
                </c:pt>
                <c:pt idx="123">
                  <c:v>17.855833333333333</c:v>
                </c:pt>
                <c:pt idx="124">
                  <c:v>12.544166666666667</c:v>
                </c:pt>
                <c:pt idx="125">
                  <c:v>20.996666666666673</c:v>
                </c:pt>
                <c:pt idx="126">
                  <c:v>21.736666666666668</c:v>
                </c:pt>
                <c:pt idx="127">
                  <c:v>19.531666666666666</c:v>
                </c:pt>
                <c:pt idx="128">
                  <c:v>11.837916666666667</c:v>
                </c:pt>
                <c:pt idx="129">
                  <c:v>17.240833333333331</c:v>
                </c:pt>
                <c:pt idx="130">
                  <c:v>14.834166666666668</c:v>
                </c:pt>
                <c:pt idx="131">
                  <c:v>12.614583333333334</c:v>
                </c:pt>
                <c:pt idx="132">
                  <c:v>22.895416666666666</c:v>
                </c:pt>
                <c:pt idx="133">
                  <c:v>20.424166666666665</c:v>
                </c:pt>
                <c:pt idx="134">
                  <c:v>19.166666666666668</c:v>
                </c:pt>
                <c:pt idx="135">
                  <c:v>21.452500000000004</c:v>
                </c:pt>
                <c:pt idx="136">
                  <c:v>18.032499999999999</c:v>
                </c:pt>
                <c:pt idx="137">
                  <c:v>14.575416666666669</c:v>
                </c:pt>
                <c:pt idx="138">
                  <c:v>8.3362500000000015</c:v>
                </c:pt>
                <c:pt idx="139">
                  <c:v>9.5537500000000009</c:v>
                </c:pt>
                <c:pt idx="140">
                  <c:v>19.836666666666666</c:v>
                </c:pt>
                <c:pt idx="141">
                  <c:v>18.857916666666664</c:v>
                </c:pt>
                <c:pt idx="142">
                  <c:v>22.67625</c:v>
                </c:pt>
                <c:pt idx="143">
                  <c:v>18.318333333333332</c:v>
                </c:pt>
                <c:pt idx="144">
                  <c:v>12.742916666666668</c:v>
                </c:pt>
                <c:pt idx="145">
                  <c:v>10.047083333333335</c:v>
                </c:pt>
                <c:pt idx="146">
                  <c:v>20.945416666666663</c:v>
                </c:pt>
                <c:pt idx="147">
                  <c:v>25.250416666666666</c:v>
                </c:pt>
                <c:pt idx="148">
                  <c:v>22.939166666666669</c:v>
                </c:pt>
                <c:pt idx="149">
                  <c:v>15.943333333333333</c:v>
                </c:pt>
                <c:pt idx="150">
                  <c:v>16.161249999999999</c:v>
                </c:pt>
                <c:pt idx="151">
                  <c:v>15.654166666666663</c:v>
                </c:pt>
                <c:pt idx="152">
                  <c:v>10.094999999999997</c:v>
                </c:pt>
                <c:pt idx="153">
                  <c:v>20.737500000000001</c:v>
                </c:pt>
                <c:pt idx="154">
                  <c:v>35.569166666666675</c:v>
                </c:pt>
                <c:pt idx="155">
                  <c:v>18.787083333333332</c:v>
                </c:pt>
                <c:pt idx="156">
                  <c:v>24.824999999999992</c:v>
                </c:pt>
                <c:pt idx="157">
                  <c:v>20.253333333333334</c:v>
                </c:pt>
                <c:pt idx="158">
                  <c:v>13.577916666666667</c:v>
                </c:pt>
                <c:pt idx="159">
                  <c:v>8.7433333333333323</c:v>
                </c:pt>
                <c:pt idx="160">
                  <c:v>24.71833333333333</c:v>
                </c:pt>
                <c:pt idx="161">
                  <c:v>26.867916666666662</c:v>
                </c:pt>
                <c:pt idx="162">
                  <c:v>26.549166666666668</c:v>
                </c:pt>
                <c:pt idx="163">
                  <c:v>24.661249999999992</c:v>
                </c:pt>
                <c:pt idx="164">
                  <c:v>25.577083333333334</c:v>
                </c:pt>
                <c:pt idx="165">
                  <c:v>17.543333333333333</c:v>
                </c:pt>
                <c:pt idx="166">
                  <c:v>13.039583333333333</c:v>
                </c:pt>
                <c:pt idx="167">
                  <c:v>32.566250000000004</c:v>
                </c:pt>
                <c:pt idx="168">
                  <c:v>26.508333333333336</c:v>
                </c:pt>
                <c:pt idx="169">
                  <c:v>51.186250000000001</c:v>
                </c:pt>
                <c:pt idx="170">
                  <c:v>44.70291666666666</c:v>
                </c:pt>
                <c:pt idx="171">
                  <c:v>29.22208333333333</c:v>
                </c:pt>
                <c:pt idx="172">
                  <c:v>17.010416666666668</c:v>
                </c:pt>
                <c:pt idx="173">
                  <c:v>13.627916666666669</c:v>
                </c:pt>
                <c:pt idx="174">
                  <c:v>28.94208333333334</c:v>
                </c:pt>
                <c:pt idx="175">
                  <c:v>30.405833333333337</c:v>
                </c:pt>
                <c:pt idx="176">
                  <c:v>25.677083333333332</c:v>
                </c:pt>
                <c:pt idx="177">
                  <c:v>23.490833333333331</c:v>
                </c:pt>
                <c:pt idx="178">
                  <c:v>19.018749999999997</c:v>
                </c:pt>
                <c:pt idx="179">
                  <c:v>11.774583333333332</c:v>
                </c:pt>
                <c:pt idx="180">
                  <c:v>12.657916666666665</c:v>
                </c:pt>
                <c:pt idx="181">
                  <c:v>52.085416666666674</c:v>
                </c:pt>
                <c:pt idx="182">
                  <c:v>27.713333333333328</c:v>
                </c:pt>
                <c:pt idx="183">
                  <c:v>54.094166666666673</c:v>
                </c:pt>
                <c:pt idx="184">
                  <c:v>30.642499999999998</c:v>
                </c:pt>
                <c:pt idx="185">
                  <c:v>30.079583333333332</c:v>
                </c:pt>
                <c:pt idx="186">
                  <c:v>18.324999999999999</c:v>
                </c:pt>
                <c:pt idx="187">
                  <c:v>11.816666666666668</c:v>
                </c:pt>
                <c:pt idx="188">
                  <c:v>23.974166666666665</c:v>
                </c:pt>
                <c:pt idx="189">
                  <c:v>48.005416666666655</c:v>
                </c:pt>
                <c:pt idx="190">
                  <c:v>23.940833333333334</c:v>
                </c:pt>
                <c:pt idx="191">
                  <c:v>20.323333333333334</c:v>
                </c:pt>
                <c:pt idx="192">
                  <c:v>22.240000000000006</c:v>
                </c:pt>
                <c:pt idx="193">
                  <c:v>17.455000000000002</c:v>
                </c:pt>
                <c:pt idx="194">
                  <c:v>12.355416666666668</c:v>
                </c:pt>
                <c:pt idx="195">
                  <c:v>20.535416666666674</c:v>
                </c:pt>
                <c:pt idx="196">
                  <c:v>24.509166666666669</c:v>
                </c:pt>
                <c:pt idx="197">
                  <c:v>22.092916666666667</c:v>
                </c:pt>
                <c:pt idx="198">
                  <c:v>16.855833333333333</c:v>
                </c:pt>
                <c:pt idx="199">
                  <c:v>17.824166666666667</c:v>
                </c:pt>
                <c:pt idx="200">
                  <c:v>13.489583333333334</c:v>
                </c:pt>
                <c:pt idx="201">
                  <c:v>9.7212499999999995</c:v>
                </c:pt>
                <c:pt idx="202">
                  <c:v>22.052499999999998</c:v>
                </c:pt>
                <c:pt idx="203">
                  <c:v>18.213750000000001</c:v>
                </c:pt>
                <c:pt idx="204">
                  <c:v>20.088750000000001</c:v>
                </c:pt>
                <c:pt idx="205">
                  <c:v>19.815416666666668</c:v>
                </c:pt>
                <c:pt idx="206">
                  <c:v>21.966250000000002</c:v>
                </c:pt>
                <c:pt idx="207">
                  <c:v>15.539999999999997</c:v>
                </c:pt>
                <c:pt idx="208">
                  <c:v>10.918333333333331</c:v>
                </c:pt>
                <c:pt idx="209">
                  <c:v>19.666666666666668</c:v>
                </c:pt>
                <c:pt idx="210">
                  <c:v>25.042083333333334</c:v>
                </c:pt>
                <c:pt idx="211">
                  <c:v>25.854583333333334</c:v>
                </c:pt>
                <c:pt idx="212">
                  <c:v>20.45</c:v>
                </c:pt>
                <c:pt idx="213">
                  <c:v>17.87125</c:v>
                </c:pt>
                <c:pt idx="214">
                  <c:v>16.326250000000002</c:v>
                </c:pt>
                <c:pt idx="215">
                  <c:v>11.893750000000002</c:v>
                </c:pt>
                <c:pt idx="216">
                  <c:v>20.37458333333333</c:v>
                </c:pt>
                <c:pt idx="217">
                  <c:v>22.624166666666667</c:v>
                </c:pt>
                <c:pt idx="218">
                  <c:v>20.529999999999998</c:v>
                </c:pt>
                <c:pt idx="219">
                  <c:v>20.317083333333333</c:v>
                </c:pt>
                <c:pt idx="220">
                  <c:v>20.141666666666669</c:v>
                </c:pt>
                <c:pt idx="221">
                  <c:v>16.587500000000002</c:v>
                </c:pt>
                <c:pt idx="222">
                  <c:v>13.328333333333333</c:v>
                </c:pt>
                <c:pt idx="223">
                  <c:v>21.515416666666667</c:v>
                </c:pt>
                <c:pt idx="224">
                  <c:v>25.463333333333335</c:v>
                </c:pt>
                <c:pt idx="225">
                  <c:v>25.029583333333335</c:v>
                </c:pt>
                <c:pt idx="226">
                  <c:v>29.751666666666665</c:v>
                </c:pt>
                <c:pt idx="227">
                  <c:v>21.90583333333333</c:v>
                </c:pt>
                <c:pt idx="228">
                  <c:v>13.996666666666664</c:v>
                </c:pt>
                <c:pt idx="229">
                  <c:v>10.397916666666667</c:v>
                </c:pt>
                <c:pt idx="230">
                  <c:v>19.057083333333335</c:v>
                </c:pt>
                <c:pt idx="231">
                  <c:v>23.212499999999995</c:v>
                </c:pt>
                <c:pt idx="232">
                  <c:v>28.279583333333331</c:v>
                </c:pt>
                <c:pt idx="233">
                  <c:v>29.046249999999997</c:v>
                </c:pt>
                <c:pt idx="234">
                  <c:v>29.392500000000009</c:v>
                </c:pt>
                <c:pt idx="235">
                  <c:v>22.61333333333333</c:v>
                </c:pt>
                <c:pt idx="236">
                  <c:v>16.643333333333331</c:v>
                </c:pt>
                <c:pt idx="237">
                  <c:v>25.489583333333332</c:v>
                </c:pt>
                <c:pt idx="238">
                  <c:v>39.32</c:v>
                </c:pt>
                <c:pt idx="239">
                  <c:v>33.389166666666668</c:v>
                </c:pt>
                <c:pt idx="240">
                  <c:v>49.773333333333333</c:v>
                </c:pt>
                <c:pt idx="241">
                  <c:v>31.924583333333342</c:v>
                </c:pt>
                <c:pt idx="242">
                  <c:v>19.765000000000001</c:v>
                </c:pt>
                <c:pt idx="243">
                  <c:v>17.672916666666669</c:v>
                </c:pt>
                <c:pt idx="244">
                  <c:v>37.672916666666673</c:v>
                </c:pt>
                <c:pt idx="245">
                  <c:v>39.348749999999988</c:v>
                </c:pt>
                <c:pt idx="246">
                  <c:v>23.808333333333326</c:v>
                </c:pt>
                <c:pt idx="247">
                  <c:v>29.659166666666675</c:v>
                </c:pt>
                <c:pt idx="248">
                  <c:v>29.343333333333323</c:v>
                </c:pt>
                <c:pt idx="249">
                  <c:v>26.331250000000001</c:v>
                </c:pt>
                <c:pt idx="250">
                  <c:v>18.26125</c:v>
                </c:pt>
                <c:pt idx="251">
                  <c:v>29.357500000000002</c:v>
                </c:pt>
                <c:pt idx="252">
                  <c:v>29.199166666666667</c:v>
                </c:pt>
                <c:pt idx="253">
                  <c:v>32.312916666666659</c:v>
                </c:pt>
                <c:pt idx="254">
                  <c:v>29.341666666666658</c:v>
                </c:pt>
                <c:pt idx="255">
                  <c:v>29.167916666666674</c:v>
                </c:pt>
                <c:pt idx="256">
                  <c:v>17.339583333333334</c:v>
                </c:pt>
                <c:pt idx="257">
                  <c:v>14.317916666666669</c:v>
                </c:pt>
                <c:pt idx="258">
                  <c:v>26.98041666666667</c:v>
                </c:pt>
                <c:pt idx="259">
                  <c:v>31.871249999999993</c:v>
                </c:pt>
                <c:pt idx="260">
                  <c:v>31.31291666666667</c:v>
                </c:pt>
                <c:pt idx="261">
                  <c:v>40.10625000000001</c:v>
                </c:pt>
                <c:pt idx="262">
                  <c:v>33.434999999999995</c:v>
                </c:pt>
                <c:pt idx="263">
                  <c:v>23.94</c:v>
                </c:pt>
                <c:pt idx="264">
                  <c:v>19.705000000000002</c:v>
                </c:pt>
                <c:pt idx="265">
                  <c:v>31.686250000000001</c:v>
                </c:pt>
                <c:pt idx="266">
                  <c:v>30.225833333333341</c:v>
                </c:pt>
                <c:pt idx="267">
                  <c:v>32.102916666666665</c:v>
                </c:pt>
                <c:pt idx="268">
                  <c:v>32.188749999999999</c:v>
                </c:pt>
                <c:pt idx="269">
                  <c:v>37.939583333333339</c:v>
                </c:pt>
                <c:pt idx="270">
                  <c:v>17.870833333333334</c:v>
                </c:pt>
                <c:pt idx="271">
                  <c:v>14.265833333333333</c:v>
                </c:pt>
                <c:pt idx="272">
                  <c:v>28.545000000000002</c:v>
                </c:pt>
                <c:pt idx="273">
                  <c:v>30.8125</c:v>
                </c:pt>
                <c:pt idx="274">
                  <c:v>32.173750000000005</c:v>
                </c:pt>
                <c:pt idx="275">
                  <c:v>20.838333333333335</c:v>
                </c:pt>
                <c:pt idx="276">
                  <c:v>26.025416666666668</c:v>
                </c:pt>
                <c:pt idx="277">
                  <c:v>17.266666666666669</c:v>
                </c:pt>
                <c:pt idx="278">
                  <c:v>12.77875</c:v>
                </c:pt>
                <c:pt idx="279">
                  <c:v>23.041666666666668</c:v>
                </c:pt>
                <c:pt idx="280">
                  <c:v>25.823333333333327</c:v>
                </c:pt>
                <c:pt idx="281">
                  <c:v>27.308333333333326</c:v>
                </c:pt>
                <c:pt idx="282">
                  <c:v>25.265416666666667</c:v>
                </c:pt>
                <c:pt idx="283">
                  <c:v>18.898750000000003</c:v>
                </c:pt>
                <c:pt idx="284">
                  <c:v>17.943749999999998</c:v>
                </c:pt>
                <c:pt idx="285">
                  <c:v>13.956250000000002</c:v>
                </c:pt>
                <c:pt idx="286">
                  <c:v>23.658333333333331</c:v>
                </c:pt>
                <c:pt idx="287">
                  <c:v>27.86791666666667</c:v>
                </c:pt>
                <c:pt idx="288">
                  <c:v>25.38291666666667</c:v>
                </c:pt>
                <c:pt idx="289">
                  <c:v>26.217916666666664</c:v>
                </c:pt>
                <c:pt idx="290">
                  <c:v>23.481250000000003</c:v>
                </c:pt>
                <c:pt idx="291">
                  <c:v>19.287500000000001</c:v>
                </c:pt>
                <c:pt idx="292">
                  <c:v>15.017083333333332</c:v>
                </c:pt>
                <c:pt idx="293">
                  <c:v>24.763333333333325</c:v>
                </c:pt>
                <c:pt idx="294">
                  <c:v>24.430833333333329</c:v>
                </c:pt>
                <c:pt idx="295">
                  <c:v>19.083333333333336</c:v>
                </c:pt>
                <c:pt idx="296">
                  <c:v>23.315833333333334</c:v>
                </c:pt>
                <c:pt idx="297">
                  <c:v>22.282083333333333</c:v>
                </c:pt>
                <c:pt idx="298">
                  <c:v>14.415416666666671</c:v>
                </c:pt>
                <c:pt idx="299">
                  <c:v>11.164999999999999</c:v>
                </c:pt>
                <c:pt idx="300">
                  <c:v>22.137083333333326</c:v>
                </c:pt>
                <c:pt idx="301">
                  <c:v>27.185833333333331</c:v>
                </c:pt>
                <c:pt idx="302">
                  <c:v>32.287500000000001</c:v>
                </c:pt>
                <c:pt idx="303">
                  <c:v>28.55083333333333</c:v>
                </c:pt>
                <c:pt idx="304">
                  <c:v>18.076666666666672</c:v>
                </c:pt>
                <c:pt idx="305">
                  <c:v>18.037083333333332</c:v>
                </c:pt>
                <c:pt idx="306">
                  <c:v>8.7470833333333342</c:v>
                </c:pt>
                <c:pt idx="307">
                  <c:v>21.319166666666664</c:v>
                </c:pt>
                <c:pt idx="308">
                  <c:v>27.603333333333335</c:v>
                </c:pt>
                <c:pt idx="309">
                  <c:v>26.419583333333335</c:v>
                </c:pt>
                <c:pt idx="310">
                  <c:v>30.927083333333332</c:v>
                </c:pt>
                <c:pt idx="311">
                  <c:v>23.157083333333333</c:v>
                </c:pt>
                <c:pt idx="312">
                  <c:v>15.655833333333334</c:v>
                </c:pt>
                <c:pt idx="313">
                  <c:v>10.446666666666667</c:v>
                </c:pt>
                <c:pt idx="314">
                  <c:v>20.227083333333333</c:v>
                </c:pt>
                <c:pt idx="315">
                  <c:v>22.81</c:v>
                </c:pt>
                <c:pt idx="316">
                  <c:v>28.926666666666673</c:v>
                </c:pt>
                <c:pt idx="317">
                  <c:v>24.39916666666667</c:v>
                </c:pt>
                <c:pt idx="318">
                  <c:v>20.809166666666666</c:v>
                </c:pt>
                <c:pt idx="319">
                  <c:v>14.167083333333329</c:v>
                </c:pt>
                <c:pt idx="320">
                  <c:v>7.685833333333334</c:v>
                </c:pt>
                <c:pt idx="321">
                  <c:v>18.7425</c:v>
                </c:pt>
                <c:pt idx="322">
                  <c:v>19.679583333333333</c:v>
                </c:pt>
                <c:pt idx="323">
                  <c:v>19.070833333333329</c:v>
                </c:pt>
                <c:pt idx="324">
                  <c:v>19.967083333333331</c:v>
                </c:pt>
                <c:pt idx="325">
                  <c:v>18.833333333333332</c:v>
                </c:pt>
                <c:pt idx="326">
                  <c:v>17.706249999999997</c:v>
                </c:pt>
                <c:pt idx="327">
                  <c:v>10.431249999999999</c:v>
                </c:pt>
                <c:pt idx="328">
                  <c:v>17.701249999999998</c:v>
                </c:pt>
                <c:pt idx="329">
                  <c:v>22.894166666666663</c:v>
                </c:pt>
                <c:pt idx="330">
                  <c:v>19.67166666666667</c:v>
                </c:pt>
                <c:pt idx="331">
                  <c:v>24.383333333333329</c:v>
                </c:pt>
                <c:pt idx="332">
                  <c:v>19.839166666666667</c:v>
                </c:pt>
                <c:pt idx="333">
                  <c:v>17.617083333333333</c:v>
                </c:pt>
                <c:pt idx="334">
                  <c:v>10.506666666666666</c:v>
                </c:pt>
                <c:pt idx="335">
                  <c:v>22.979999999999993</c:v>
                </c:pt>
                <c:pt idx="336">
                  <c:v>27.838333333333335</c:v>
                </c:pt>
                <c:pt idx="337">
                  <c:v>29.137499999999999</c:v>
                </c:pt>
                <c:pt idx="338">
                  <c:v>26.809583333333332</c:v>
                </c:pt>
                <c:pt idx="339">
                  <c:v>23.923333333333336</c:v>
                </c:pt>
                <c:pt idx="340">
                  <c:v>14.52541666666667</c:v>
                </c:pt>
                <c:pt idx="341">
                  <c:v>11.074583333333335</c:v>
                </c:pt>
                <c:pt idx="342">
                  <c:v>26.400416666666672</c:v>
                </c:pt>
                <c:pt idx="343">
                  <c:v>36.501249999999999</c:v>
                </c:pt>
                <c:pt idx="344">
                  <c:v>38.784166666666671</c:v>
                </c:pt>
                <c:pt idx="345">
                  <c:v>40.048333333333339</c:v>
                </c:pt>
                <c:pt idx="346">
                  <c:v>39.040833333333332</c:v>
                </c:pt>
                <c:pt idx="347">
                  <c:v>21.017916666666665</c:v>
                </c:pt>
                <c:pt idx="348">
                  <c:v>13.750000000000002</c:v>
                </c:pt>
                <c:pt idx="349">
                  <c:v>33.793333333333329</c:v>
                </c:pt>
                <c:pt idx="350">
                  <c:v>37.446249999999999</c:v>
                </c:pt>
                <c:pt idx="351">
                  <c:v>30.207916666666666</c:v>
                </c:pt>
                <c:pt idx="352">
                  <c:v>32.027500000000003</c:v>
                </c:pt>
                <c:pt idx="353">
                  <c:v>26.995416666666667</c:v>
                </c:pt>
                <c:pt idx="354">
                  <c:v>28.603749999999994</c:v>
                </c:pt>
                <c:pt idx="355">
                  <c:v>14.304999999999998</c:v>
                </c:pt>
                <c:pt idx="356">
                  <c:v>14.782500000000001</c:v>
                </c:pt>
                <c:pt idx="357">
                  <c:v>3.4674999999999998</c:v>
                </c:pt>
                <c:pt idx="358">
                  <c:v>4.3704166666666673</c:v>
                </c:pt>
                <c:pt idx="359">
                  <c:v>4.4108333333333336</c:v>
                </c:pt>
                <c:pt idx="360">
                  <c:v>12.396250000000002</c:v>
                </c:pt>
                <c:pt idx="361">
                  <c:v>17.223749999999999</c:v>
                </c:pt>
                <c:pt idx="362">
                  <c:v>10.811249999999999</c:v>
                </c:pt>
                <c:pt idx="363">
                  <c:v>14.761249999999997</c:v>
                </c:pt>
                <c:pt idx="364">
                  <c:v>8.1987500000000004</c:v>
                </c:pt>
                <c:pt idx="365">
                  <c:v>-33.084583333333327</c:v>
                </c:pt>
                <c:pt idx="366">
                  <c:v>25.657083333333329</c:v>
                </c:pt>
                <c:pt idx="367">
                  <c:v>1.1687499999999995</c:v>
                </c:pt>
                <c:pt idx="368">
                  <c:v>22.123750000000005</c:v>
                </c:pt>
                <c:pt idx="369">
                  <c:v>23.758750000000003</c:v>
                </c:pt>
                <c:pt idx="370">
                  <c:v>28.85166666666667</c:v>
                </c:pt>
                <c:pt idx="371">
                  <c:v>15.637083333333331</c:v>
                </c:pt>
                <c:pt idx="372">
                  <c:v>22.884166666666662</c:v>
                </c:pt>
                <c:pt idx="373">
                  <c:v>22.513750000000002</c:v>
                </c:pt>
                <c:pt idx="374">
                  <c:v>33.473333333333329</c:v>
                </c:pt>
                <c:pt idx="375">
                  <c:v>39.940416666666671</c:v>
                </c:pt>
                <c:pt idx="376">
                  <c:v>34.047916666666666</c:v>
                </c:pt>
                <c:pt idx="377">
                  <c:v>25.946666666666669</c:v>
                </c:pt>
                <c:pt idx="378">
                  <c:v>20.8125</c:v>
                </c:pt>
                <c:pt idx="379">
                  <c:v>18.804166666666664</c:v>
                </c:pt>
                <c:pt idx="380">
                  <c:v>19.199166666666667</c:v>
                </c:pt>
                <c:pt idx="381">
                  <c:v>20.887916666666673</c:v>
                </c:pt>
                <c:pt idx="382">
                  <c:v>21.859583333333333</c:v>
                </c:pt>
                <c:pt idx="383">
                  <c:v>31.747083333333332</c:v>
                </c:pt>
                <c:pt idx="384">
                  <c:v>27.139166666666664</c:v>
                </c:pt>
                <c:pt idx="385">
                  <c:v>25.881666666666664</c:v>
                </c:pt>
                <c:pt idx="386">
                  <c:v>29.178333333333338</c:v>
                </c:pt>
                <c:pt idx="387">
                  <c:v>28.295416666666664</c:v>
                </c:pt>
                <c:pt idx="388">
                  <c:v>14.460833333333332</c:v>
                </c:pt>
                <c:pt idx="389">
                  <c:v>23.760833333333327</c:v>
                </c:pt>
                <c:pt idx="390">
                  <c:v>36.085833333333333</c:v>
                </c:pt>
                <c:pt idx="391">
                  <c:v>23.747916666666665</c:v>
                </c:pt>
                <c:pt idx="392">
                  <c:v>-3.9474999999999998</c:v>
                </c:pt>
                <c:pt idx="393">
                  <c:v>7.5154166666666624</c:v>
                </c:pt>
                <c:pt idx="394">
                  <c:v>26.94875</c:v>
                </c:pt>
                <c:pt idx="395">
                  <c:v>19.973750000000006</c:v>
                </c:pt>
                <c:pt idx="396">
                  <c:v>24.735416666666676</c:v>
                </c:pt>
                <c:pt idx="397">
                  <c:v>31.548333333333328</c:v>
                </c:pt>
                <c:pt idx="398">
                  <c:v>31.354166666666668</c:v>
                </c:pt>
                <c:pt idx="399">
                  <c:v>24.629583333333333</c:v>
                </c:pt>
                <c:pt idx="400">
                  <c:v>36.055</c:v>
                </c:pt>
                <c:pt idx="401">
                  <c:v>38.337916666666672</c:v>
                </c:pt>
                <c:pt idx="402">
                  <c:v>38.259166666666665</c:v>
                </c:pt>
                <c:pt idx="403">
                  <c:v>40.764583333333327</c:v>
                </c:pt>
                <c:pt idx="404">
                  <c:v>31.587916666666672</c:v>
                </c:pt>
                <c:pt idx="405">
                  <c:v>30.166666666666657</c:v>
                </c:pt>
                <c:pt idx="406">
                  <c:v>2.2695833333333328</c:v>
                </c:pt>
                <c:pt idx="407">
                  <c:v>23.35541666666666</c:v>
                </c:pt>
                <c:pt idx="408">
                  <c:v>29.733333333333338</c:v>
                </c:pt>
                <c:pt idx="409">
                  <c:v>30.280416666666667</c:v>
                </c:pt>
                <c:pt idx="410">
                  <c:v>24.63666666666667</c:v>
                </c:pt>
                <c:pt idx="411">
                  <c:v>30.891666666666676</c:v>
                </c:pt>
                <c:pt idx="412">
                  <c:v>31.18791666666667</c:v>
                </c:pt>
                <c:pt idx="413">
                  <c:v>27.079166666666666</c:v>
                </c:pt>
                <c:pt idx="414">
                  <c:v>40.442500000000003</c:v>
                </c:pt>
                <c:pt idx="415">
                  <c:v>39.350416666666668</c:v>
                </c:pt>
                <c:pt idx="416">
                  <c:v>37.21458333333333</c:v>
                </c:pt>
                <c:pt idx="417">
                  <c:v>37.715416666666677</c:v>
                </c:pt>
                <c:pt idx="418">
                  <c:v>34.48041666666667</c:v>
                </c:pt>
                <c:pt idx="419">
                  <c:v>14.144583333333337</c:v>
                </c:pt>
                <c:pt idx="420">
                  <c:v>25.330416666666665</c:v>
                </c:pt>
                <c:pt idx="421">
                  <c:v>37.08958333333333</c:v>
                </c:pt>
                <c:pt idx="422">
                  <c:v>38.482916666666668</c:v>
                </c:pt>
                <c:pt idx="423">
                  <c:v>27.619166666666668</c:v>
                </c:pt>
                <c:pt idx="424">
                  <c:v>20.049583333333334</c:v>
                </c:pt>
                <c:pt idx="425">
                  <c:v>30.3</c:v>
                </c:pt>
                <c:pt idx="426">
                  <c:v>24.371666666666673</c:v>
                </c:pt>
                <c:pt idx="427">
                  <c:v>21.206666666666667</c:v>
                </c:pt>
                <c:pt idx="428">
                  <c:v>38.718750000000007</c:v>
                </c:pt>
                <c:pt idx="429">
                  <c:v>39.471250000000005</c:v>
                </c:pt>
                <c:pt idx="430">
                  <c:v>37.761249999999997</c:v>
                </c:pt>
                <c:pt idx="431">
                  <c:v>26.428749999999997</c:v>
                </c:pt>
                <c:pt idx="432">
                  <c:v>25.977499999999996</c:v>
                </c:pt>
                <c:pt idx="433">
                  <c:v>23.66083333333334</c:v>
                </c:pt>
                <c:pt idx="434">
                  <c:v>17.620833333333334</c:v>
                </c:pt>
                <c:pt idx="435">
                  <c:v>30.159583333333341</c:v>
                </c:pt>
                <c:pt idx="436">
                  <c:v>28.474999999999998</c:v>
                </c:pt>
                <c:pt idx="437">
                  <c:v>35.622083333333343</c:v>
                </c:pt>
                <c:pt idx="438">
                  <c:v>13.467916666666667</c:v>
                </c:pt>
                <c:pt idx="439">
                  <c:v>18.172500000000003</c:v>
                </c:pt>
                <c:pt idx="440">
                  <c:v>-7.1716666666666669</c:v>
                </c:pt>
                <c:pt idx="441">
                  <c:v>-9.3566666666666674</c:v>
                </c:pt>
                <c:pt idx="442">
                  <c:v>38.078749999999992</c:v>
                </c:pt>
                <c:pt idx="443">
                  <c:v>31.422083333333333</c:v>
                </c:pt>
                <c:pt idx="444">
                  <c:v>39.212499999999999</c:v>
                </c:pt>
                <c:pt idx="445">
                  <c:v>31.280833333333334</c:v>
                </c:pt>
                <c:pt idx="446">
                  <c:v>40.309999999999995</c:v>
                </c:pt>
                <c:pt idx="447">
                  <c:v>28.821249999999996</c:v>
                </c:pt>
                <c:pt idx="448">
                  <c:v>25.142173913043479</c:v>
                </c:pt>
                <c:pt idx="449">
                  <c:v>39.856249999999996</c:v>
                </c:pt>
                <c:pt idx="450">
                  <c:v>31.422916666666666</c:v>
                </c:pt>
                <c:pt idx="451">
                  <c:v>27.574166666666667</c:v>
                </c:pt>
                <c:pt idx="452">
                  <c:v>24.832916666666666</c:v>
                </c:pt>
                <c:pt idx="453">
                  <c:v>16.131250000000001</c:v>
                </c:pt>
                <c:pt idx="454">
                  <c:v>10.331666666666665</c:v>
                </c:pt>
                <c:pt idx="455">
                  <c:v>10.911666666666669</c:v>
                </c:pt>
                <c:pt idx="456">
                  <c:v>27.607500000000005</c:v>
                </c:pt>
                <c:pt idx="457">
                  <c:v>21.146666666666672</c:v>
                </c:pt>
                <c:pt idx="458">
                  <c:v>23.505000000000006</c:v>
                </c:pt>
                <c:pt idx="459">
                  <c:v>19.953749999999999</c:v>
                </c:pt>
                <c:pt idx="460">
                  <c:v>22.244166666666672</c:v>
                </c:pt>
                <c:pt idx="461">
                  <c:v>3.5162500000000012</c:v>
                </c:pt>
                <c:pt idx="462">
                  <c:v>10.021666666666668</c:v>
                </c:pt>
                <c:pt idx="463">
                  <c:v>29.314166666666665</c:v>
                </c:pt>
                <c:pt idx="464">
                  <c:v>22.693750000000005</c:v>
                </c:pt>
                <c:pt idx="465">
                  <c:v>18.12875</c:v>
                </c:pt>
                <c:pt idx="466">
                  <c:v>16.292916666666663</c:v>
                </c:pt>
                <c:pt idx="467">
                  <c:v>24.628333333333334</c:v>
                </c:pt>
                <c:pt idx="468">
                  <c:v>21.402916666666666</c:v>
                </c:pt>
                <c:pt idx="469">
                  <c:v>17.745833333333334</c:v>
                </c:pt>
                <c:pt idx="470">
                  <c:v>32.67583333333333</c:v>
                </c:pt>
                <c:pt idx="471">
                  <c:v>30.100833333333327</c:v>
                </c:pt>
                <c:pt idx="472">
                  <c:v>27.212083333333325</c:v>
                </c:pt>
                <c:pt idx="473">
                  <c:v>26.424166666666668</c:v>
                </c:pt>
                <c:pt idx="474">
                  <c:v>25.62166666666667</c:v>
                </c:pt>
                <c:pt idx="475">
                  <c:v>16.9925</c:v>
                </c:pt>
                <c:pt idx="476">
                  <c:v>5.5783333333333331</c:v>
                </c:pt>
                <c:pt idx="477">
                  <c:v>19.712916666666665</c:v>
                </c:pt>
                <c:pt idx="478">
                  <c:v>21.14041666666667</c:v>
                </c:pt>
                <c:pt idx="479">
                  <c:v>14.084583333333333</c:v>
                </c:pt>
                <c:pt idx="480">
                  <c:v>17.014166666666664</c:v>
                </c:pt>
                <c:pt idx="481">
                  <c:v>26.127916666666668</c:v>
                </c:pt>
                <c:pt idx="482">
                  <c:v>15.581666666666665</c:v>
                </c:pt>
                <c:pt idx="483">
                  <c:v>7.8774999999999986</c:v>
                </c:pt>
                <c:pt idx="484">
                  <c:v>-0.58999999999999808</c:v>
                </c:pt>
                <c:pt idx="485">
                  <c:v>-19.042916666666667</c:v>
                </c:pt>
                <c:pt idx="486">
                  <c:v>26.930416666666659</c:v>
                </c:pt>
                <c:pt idx="487">
                  <c:v>27.066666666666663</c:v>
                </c:pt>
                <c:pt idx="488">
                  <c:v>27.528333333333332</c:v>
                </c:pt>
                <c:pt idx="489">
                  <c:v>15.427916666666674</c:v>
                </c:pt>
                <c:pt idx="490">
                  <c:v>6.6987499999999995</c:v>
                </c:pt>
                <c:pt idx="491">
                  <c:v>20.816666666666666</c:v>
                </c:pt>
                <c:pt idx="492">
                  <c:v>13.909999999999997</c:v>
                </c:pt>
                <c:pt idx="493">
                  <c:v>22.663749999999997</c:v>
                </c:pt>
                <c:pt idx="494">
                  <c:v>10.654999999999999</c:v>
                </c:pt>
                <c:pt idx="495">
                  <c:v>27.602500000000003</c:v>
                </c:pt>
                <c:pt idx="496">
                  <c:v>17.900416666666668</c:v>
                </c:pt>
                <c:pt idx="497">
                  <c:v>2.0454166666666667</c:v>
                </c:pt>
                <c:pt idx="498">
                  <c:v>20.09708333333333</c:v>
                </c:pt>
                <c:pt idx="499">
                  <c:v>28.135833333333341</c:v>
                </c:pt>
                <c:pt idx="500">
                  <c:v>26.45291666666667</c:v>
                </c:pt>
                <c:pt idx="501">
                  <c:v>20.116250000000004</c:v>
                </c:pt>
                <c:pt idx="502">
                  <c:v>23.887916666666666</c:v>
                </c:pt>
                <c:pt idx="503">
                  <c:v>21.137083333333333</c:v>
                </c:pt>
                <c:pt idx="504">
                  <c:v>1.4587499999999993</c:v>
                </c:pt>
                <c:pt idx="505">
                  <c:v>-9.8675000000000015</c:v>
                </c:pt>
                <c:pt idx="506">
                  <c:v>26.837916666666661</c:v>
                </c:pt>
                <c:pt idx="507">
                  <c:v>26.352916666666658</c:v>
                </c:pt>
                <c:pt idx="508">
                  <c:v>22.69083333333333</c:v>
                </c:pt>
                <c:pt idx="509">
                  <c:v>24.392499999999998</c:v>
                </c:pt>
                <c:pt idx="510">
                  <c:v>21.105416666666667</c:v>
                </c:pt>
                <c:pt idx="511">
                  <c:v>16.914583333333336</c:v>
                </c:pt>
                <c:pt idx="512">
                  <c:v>27.517916666666675</c:v>
                </c:pt>
                <c:pt idx="513">
                  <c:v>26.64041666666667</c:v>
                </c:pt>
                <c:pt idx="514">
                  <c:v>30.865833333333331</c:v>
                </c:pt>
                <c:pt idx="515">
                  <c:v>27.367499999999996</c:v>
                </c:pt>
                <c:pt idx="516">
                  <c:v>36.037916666666661</c:v>
                </c:pt>
                <c:pt idx="517">
                  <c:v>24.964583333333326</c:v>
                </c:pt>
                <c:pt idx="518">
                  <c:v>17.229166666666668</c:v>
                </c:pt>
                <c:pt idx="519">
                  <c:v>30.740833333333331</c:v>
                </c:pt>
                <c:pt idx="520">
                  <c:v>35.269999999999989</c:v>
                </c:pt>
                <c:pt idx="521">
                  <c:v>33.791250000000012</c:v>
                </c:pt>
                <c:pt idx="522">
                  <c:v>33.639999999999993</c:v>
                </c:pt>
                <c:pt idx="523">
                  <c:v>33.609583333333333</c:v>
                </c:pt>
                <c:pt idx="524">
                  <c:v>26.680416666666662</c:v>
                </c:pt>
                <c:pt idx="525">
                  <c:v>23.538333333333338</c:v>
                </c:pt>
                <c:pt idx="526">
                  <c:v>33.073333333333331</c:v>
                </c:pt>
                <c:pt idx="527">
                  <c:v>34.607083333333328</c:v>
                </c:pt>
                <c:pt idx="528">
                  <c:v>32.869583333333331</c:v>
                </c:pt>
                <c:pt idx="529">
                  <c:v>28.768749999999994</c:v>
                </c:pt>
                <c:pt idx="530">
                  <c:v>34.946249999999999</c:v>
                </c:pt>
                <c:pt idx="531">
                  <c:v>25.708749999999998</c:v>
                </c:pt>
                <c:pt idx="532">
                  <c:v>9.8358333333333334</c:v>
                </c:pt>
                <c:pt idx="533">
                  <c:v>29.796666666666667</c:v>
                </c:pt>
                <c:pt idx="534">
                  <c:v>32.30749999999999</c:v>
                </c:pt>
                <c:pt idx="535">
                  <c:v>32.32500000000001</c:v>
                </c:pt>
                <c:pt idx="536">
                  <c:v>15.456666666666663</c:v>
                </c:pt>
                <c:pt idx="537">
                  <c:v>5.635416666666667</c:v>
                </c:pt>
                <c:pt idx="538">
                  <c:v>8.7970833333333331</c:v>
                </c:pt>
                <c:pt idx="539">
                  <c:v>16.844166666666663</c:v>
                </c:pt>
                <c:pt idx="540">
                  <c:v>30.211250000000007</c:v>
                </c:pt>
                <c:pt idx="541">
                  <c:v>34.276249999999997</c:v>
                </c:pt>
                <c:pt idx="542">
                  <c:v>32.27791666666667</c:v>
                </c:pt>
                <c:pt idx="543">
                  <c:v>29.933333333333334</c:v>
                </c:pt>
                <c:pt idx="544">
                  <c:v>29.366666666666671</c:v>
                </c:pt>
                <c:pt idx="545">
                  <c:v>25.7075</c:v>
                </c:pt>
                <c:pt idx="546">
                  <c:v>13.969166666666675</c:v>
                </c:pt>
                <c:pt idx="547">
                  <c:v>33.038333333333327</c:v>
                </c:pt>
                <c:pt idx="548">
                  <c:v>34.699166666666663</c:v>
                </c:pt>
                <c:pt idx="549">
                  <c:v>37.729166666666664</c:v>
                </c:pt>
                <c:pt idx="550">
                  <c:v>36.171666666666674</c:v>
                </c:pt>
                <c:pt idx="551">
                  <c:v>32.153333333333329</c:v>
                </c:pt>
                <c:pt idx="552">
                  <c:v>17.235000000000003</c:v>
                </c:pt>
                <c:pt idx="553">
                  <c:v>18.600416666666661</c:v>
                </c:pt>
                <c:pt idx="554">
                  <c:v>30.640416666666653</c:v>
                </c:pt>
                <c:pt idx="555">
                  <c:v>36.940416666666671</c:v>
                </c:pt>
                <c:pt idx="556">
                  <c:v>36.21958333333334</c:v>
                </c:pt>
                <c:pt idx="557">
                  <c:v>37.256666666666668</c:v>
                </c:pt>
                <c:pt idx="558">
                  <c:v>34.814583333333331</c:v>
                </c:pt>
                <c:pt idx="559">
                  <c:v>32.159166666666657</c:v>
                </c:pt>
                <c:pt idx="560">
                  <c:v>29.853333333333328</c:v>
                </c:pt>
                <c:pt idx="561">
                  <c:v>37.913333333333334</c:v>
                </c:pt>
                <c:pt idx="562">
                  <c:v>36.097499999999989</c:v>
                </c:pt>
                <c:pt idx="563">
                  <c:v>33.379999999999988</c:v>
                </c:pt>
                <c:pt idx="564">
                  <c:v>34.825000000000003</c:v>
                </c:pt>
                <c:pt idx="565">
                  <c:v>36.512916666666662</c:v>
                </c:pt>
                <c:pt idx="566">
                  <c:v>33.142499999999998</c:v>
                </c:pt>
                <c:pt idx="567">
                  <c:v>29.222916666666666</c:v>
                </c:pt>
                <c:pt idx="568">
                  <c:v>37.67208333333334</c:v>
                </c:pt>
                <c:pt idx="569">
                  <c:v>39.580833333333338</c:v>
                </c:pt>
                <c:pt idx="570">
                  <c:v>41.113750000000003</c:v>
                </c:pt>
                <c:pt idx="571">
                  <c:v>37.821249999999999</c:v>
                </c:pt>
                <c:pt idx="572">
                  <c:v>36.546249999999993</c:v>
                </c:pt>
                <c:pt idx="573">
                  <c:v>29.321249999999996</c:v>
                </c:pt>
                <c:pt idx="574">
                  <c:v>27.790833333333339</c:v>
                </c:pt>
                <c:pt idx="575">
                  <c:v>38.1875</c:v>
                </c:pt>
                <c:pt idx="576">
                  <c:v>38.968749999999993</c:v>
                </c:pt>
                <c:pt idx="577">
                  <c:v>38.578333333333333</c:v>
                </c:pt>
                <c:pt idx="578">
                  <c:v>41.888750000000002</c:v>
                </c:pt>
                <c:pt idx="579">
                  <c:v>45.091250000000009</c:v>
                </c:pt>
                <c:pt idx="580">
                  <c:v>33.487500000000004</c:v>
                </c:pt>
                <c:pt idx="581">
                  <c:v>32.854999999999997</c:v>
                </c:pt>
                <c:pt idx="582">
                  <c:v>45.162916666666661</c:v>
                </c:pt>
                <c:pt idx="583">
                  <c:v>47.207500000000003</c:v>
                </c:pt>
                <c:pt idx="584">
                  <c:v>38.747499999999995</c:v>
                </c:pt>
                <c:pt idx="585">
                  <c:v>37.504583333333329</c:v>
                </c:pt>
                <c:pt idx="586">
                  <c:v>27.091666666666669</c:v>
                </c:pt>
                <c:pt idx="587">
                  <c:v>26.669166666666666</c:v>
                </c:pt>
                <c:pt idx="588">
                  <c:v>24.795833333333338</c:v>
                </c:pt>
                <c:pt idx="589">
                  <c:v>37.971249999999998</c:v>
                </c:pt>
                <c:pt idx="590">
                  <c:v>36.937916666666659</c:v>
                </c:pt>
                <c:pt idx="591">
                  <c:v>35.399166666666666</c:v>
                </c:pt>
                <c:pt idx="592">
                  <c:v>38.08541666666666</c:v>
                </c:pt>
                <c:pt idx="593">
                  <c:v>39.854166666666664</c:v>
                </c:pt>
                <c:pt idx="594">
                  <c:v>35.673333333333325</c:v>
                </c:pt>
                <c:pt idx="595">
                  <c:v>31.667083333333341</c:v>
                </c:pt>
                <c:pt idx="596">
                  <c:v>38.772916666666667</c:v>
                </c:pt>
                <c:pt idx="597">
                  <c:v>47.156249999999993</c:v>
                </c:pt>
                <c:pt idx="598">
                  <c:v>45.617500000000007</c:v>
                </c:pt>
                <c:pt idx="599">
                  <c:v>43.5075</c:v>
                </c:pt>
                <c:pt idx="600">
                  <c:v>36.951250000000002</c:v>
                </c:pt>
                <c:pt idx="601">
                  <c:v>32.996249999999996</c:v>
                </c:pt>
                <c:pt idx="602">
                  <c:v>27.85166666666667</c:v>
                </c:pt>
                <c:pt idx="603">
                  <c:v>24.288750000000004</c:v>
                </c:pt>
                <c:pt idx="604">
                  <c:v>45.414999999999999</c:v>
                </c:pt>
                <c:pt idx="605">
                  <c:v>41.853333333333332</c:v>
                </c:pt>
                <c:pt idx="606">
                  <c:v>36.271666666666668</c:v>
                </c:pt>
                <c:pt idx="607">
                  <c:v>43.421249999999993</c:v>
                </c:pt>
                <c:pt idx="608">
                  <c:v>38.702916666666674</c:v>
                </c:pt>
                <c:pt idx="609">
                  <c:v>31.883333333333336</c:v>
                </c:pt>
                <c:pt idx="610">
                  <c:v>43.426249999999989</c:v>
                </c:pt>
                <c:pt idx="611">
                  <c:v>46.443750000000001</c:v>
                </c:pt>
                <c:pt idx="612">
                  <c:v>46.300833333333344</c:v>
                </c:pt>
                <c:pt idx="613">
                  <c:v>43.894583333333351</c:v>
                </c:pt>
                <c:pt idx="614">
                  <c:v>39.244583333333338</c:v>
                </c:pt>
                <c:pt idx="615">
                  <c:v>26.915833333333339</c:v>
                </c:pt>
                <c:pt idx="616">
                  <c:v>25.971250000000008</c:v>
                </c:pt>
                <c:pt idx="617">
                  <c:v>39.120000000000005</c:v>
                </c:pt>
                <c:pt idx="618">
                  <c:v>33.665833333333332</c:v>
                </c:pt>
                <c:pt idx="619">
                  <c:v>40.863749999999989</c:v>
                </c:pt>
                <c:pt idx="620">
                  <c:v>52.652916666666648</c:v>
                </c:pt>
                <c:pt idx="621">
                  <c:v>44.900416666666665</c:v>
                </c:pt>
                <c:pt idx="622">
                  <c:v>31.848749999999999</c:v>
                </c:pt>
                <c:pt idx="623">
                  <c:v>27.396666666666665</c:v>
                </c:pt>
                <c:pt idx="624">
                  <c:v>41.508333333333333</c:v>
                </c:pt>
                <c:pt idx="625">
                  <c:v>37.770416666666669</c:v>
                </c:pt>
                <c:pt idx="626">
                  <c:v>36.168333333333337</c:v>
                </c:pt>
                <c:pt idx="627">
                  <c:v>36.080000000000005</c:v>
                </c:pt>
                <c:pt idx="628">
                  <c:v>18.71916666666667</c:v>
                </c:pt>
                <c:pt idx="629">
                  <c:v>3.3291666666666693</c:v>
                </c:pt>
                <c:pt idx="630">
                  <c:v>22.07041666666667</c:v>
                </c:pt>
                <c:pt idx="631">
                  <c:v>16.510000000000002</c:v>
                </c:pt>
                <c:pt idx="632">
                  <c:v>41.149583333333332</c:v>
                </c:pt>
                <c:pt idx="633">
                  <c:v>25.197500000000002</c:v>
                </c:pt>
                <c:pt idx="634">
                  <c:v>33.119166666666672</c:v>
                </c:pt>
                <c:pt idx="635">
                  <c:v>30.807916666666674</c:v>
                </c:pt>
                <c:pt idx="636">
                  <c:v>25.330000000000002</c:v>
                </c:pt>
                <c:pt idx="637">
                  <c:v>20.5825</c:v>
                </c:pt>
                <c:pt idx="638">
                  <c:v>39.924583333333331</c:v>
                </c:pt>
                <c:pt idx="639">
                  <c:v>21.388750000000002</c:v>
                </c:pt>
                <c:pt idx="640">
                  <c:v>-2.8462500000000035</c:v>
                </c:pt>
                <c:pt idx="641">
                  <c:v>43.852083333333326</c:v>
                </c:pt>
                <c:pt idx="642">
                  <c:v>38.185833333333335</c:v>
                </c:pt>
                <c:pt idx="643">
                  <c:v>35.80416666666666</c:v>
                </c:pt>
                <c:pt idx="644">
                  <c:v>32.808333333333337</c:v>
                </c:pt>
                <c:pt idx="645">
                  <c:v>41.993749999999999</c:v>
                </c:pt>
                <c:pt idx="646">
                  <c:v>50.814999999999991</c:v>
                </c:pt>
                <c:pt idx="647">
                  <c:v>42.742083333333341</c:v>
                </c:pt>
                <c:pt idx="648">
                  <c:v>34.501666666666672</c:v>
                </c:pt>
                <c:pt idx="649">
                  <c:v>36.420416666666661</c:v>
                </c:pt>
                <c:pt idx="650">
                  <c:v>24.531666666666666</c:v>
                </c:pt>
                <c:pt idx="651">
                  <c:v>7.735833333333332</c:v>
                </c:pt>
                <c:pt idx="652">
                  <c:v>40.87916666666667</c:v>
                </c:pt>
                <c:pt idx="653">
                  <c:v>52.717916666666675</c:v>
                </c:pt>
                <c:pt idx="654">
                  <c:v>51.650416666666665</c:v>
                </c:pt>
                <c:pt idx="655">
                  <c:v>43.43416666666667</c:v>
                </c:pt>
                <c:pt idx="656">
                  <c:v>47.912916666666668</c:v>
                </c:pt>
                <c:pt idx="657">
                  <c:v>39.678750000000001</c:v>
                </c:pt>
                <c:pt idx="658">
                  <c:v>35.807083333333338</c:v>
                </c:pt>
                <c:pt idx="659">
                  <c:v>37.130000000000003</c:v>
                </c:pt>
                <c:pt idx="660">
                  <c:v>15.3925</c:v>
                </c:pt>
                <c:pt idx="661">
                  <c:v>24.962083333333339</c:v>
                </c:pt>
                <c:pt idx="662">
                  <c:v>29.66</c:v>
                </c:pt>
                <c:pt idx="663">
                  <c:v>40.246250000000003</c:v>
                </c:pt>
                <c:pt idx="664">
                  <c:v>29.844166666666666</c:v>
                </c:pt>
                <c:pt idx="665">
                  <c:v>25.727200000000007</c:v>
                </c:pt>
                <c:pt idx="666">
                  <c:v>27.294166666666669</c:v>
                </c:pt>
                <c:pt idx="667">
                  <c:v>17.652916666666666</c:v>
                </c:pt>
                <c:pt idx="668">
                  <c:v>28.779166666666679</c:v>
                </c:pt>
                <c:pt idx="669">
                  <c:v>32.293333333333344</c:v>
                </c:pt>
                <c:pt idx="670">
                  <c:v>37.688750000000006</c:v>
                </c:pt>
                <c:pt idx="671">
                  <c:v>34.962916666666665</c:v>
                </c:pt>
                <c:pt idx="672">
                  <c:v>30.387500000000006</c:v>
                </c:pt>
                <c:pt idx="673">
                  <c:v>39.96416666666665</c:v>
                </c:pt>
                <c:pt idx="674">
                  <c:v>40.979583333333323</c:v>
                </c:pt>
                <c:pt idx="675">
                  <c:v>37.387916666666662</c:v>
                </c:pt>
                <c:pt idx="676">
                  <c:v>43.310416666666661</c:v>
                </c:pt>
                <c:pt idx="677">
                  <c:v>40.014583333333327</c:v>
                </c:pt>
                <c:pt idx="678">
                  <c:v>23.565416666666664</c:v>
                </c:pt>
                <c:pt idx="679">
                  <c:v>20.228333333333332</c:v>
                </c:pt>
                <c:pt idx="680">
                  <c:v>34.404583333333342</c:v>
                </c:pt>
                <c:pt idx="681">
                  <c:v>32.96791666666666</c:v>
                </c:pt>
                <c:pt idx="682">
                  <c:v>42.127916666666664</c:v>
                </c:pt>
                <c:pt idx="683">
                  <c:v>44.479166666666657</c:v>
                </c:pt>
                <c:pt idx="684">
                  <c:v>38.659166666666657</c:v>
                </c:pt>
                <c:pt idx="685">
                  <c:v>29.097083333333334</c:v>
                </c:pt>
                <c:pt idx="686">
                  <c:v>28.494166666666672</c:v>
                </c:pt>
                <c:pt idx="687">
                  <c:v>29.284999999999997</c:v>
                </c:pt>
                <c:pt idx="688">
                  <c:v>27.193749999999994</c:v>
                </c:pt>
                <c:pt idx="689">
                  <c:v>34.868749999999999</c:v>
                </c:pt>
                <c:pt idx="690">
                  <c:v>56.883333333333347</c:v>
                </c:pt>
                <c:pt idx="691">
                  <c:v>60.121249999999996</c:v>
                </c:pt>
                <c:pt idx="692">
                  <c:v>41.735833333333339</c:v>
                </c:pt>
                <c:pt idx="693">
                  <c:v>33.635833333333338</c:v>
                </c:pt>
                <c:pt idx="694">
                  <c:v>53.838749999999983</c:v>
                </c:pt>
                <c:pt idx="695">
                  <c:v>55.905416666666667</c:v>
                </c:pt>
                <c:pt idx="696">
                  <c:v>33.698750000000004</c:v>
                </c:pt>
                <c:pt idx="697">
                  <c:v>30.37875</c:v>
                </c:pt>
                <c:pt idx="698">
                  <c:v>37.002083333333331</c:v>
                </c:pt>
                <c:pt idx="699">
                  <c:v>26.362500000000001</c:v>
                </c:pt>
                <c:pt idx="700">
                  <c:v>9.6991666666666649</c:v>
                </c:pt>
                <c:pt idx="701">
                  <c:v>23.986666666666665</c:v>
                </c:pt>
                <c:pt idx="702">
                  <c:v>29.918749999999999</c:v>
                </c:pt>
                <c:pt idx="703">
                  <c:v>39.540833333333325</c:v>
                </c:pt>
                <c:pt idx="704">
                  <c:v>34.757083333333341</c:v>
                </c:pt>
                <c:pt idx="705">
                  <c:v>22.287916666666661</c:v>
                </c:pt>
                <c:pt idx="706">
                  <c:v>-8.4245833333333309</c:v>
                </c:pt>
                <c:pt idx="707">
                  <c:v>-11.372916666666667</c:v>
                </c:pt>
                <c:pt idx="708">
                  <c:v>15.301249999999998</c:v>
                </c:pt>
                <c:pt idx="709">
                  <c:v>35.210000000000015</c:v>
                </c:pt>
                <c:pt idx="710">
                  <c:v>48.444166666666668</c:v>
                </c:pt>
                <c:pt idx="711">
                  <c:v>43.922916666666652</c:v>
                </c:pt>
                <c:pt idx="712">
                  <c:v>47.789166666666659</c:v>
                </c:pt>
                <c:pt idx="713">
                  <c:v>31.036666666666672</c:v>
                </c:pt>
                <c:pt idx="714">
                  <c:v>26.339166666666671</c:v>
                </c:pt>
                <c:pt idx="715">
                  <c:v>45.130833333333328</c:v>
                </c:pt>
                <c:pt idx="716">
                  <c:v>35.414999999999999</c:v>
                </c:pt>
                <c:pt idx="717">
                  <c:v>32.12166666666667</c:v>
                </c:pt>
                <c:pt idx="718">
                  <c:v>32.518749999999997</c:v>
                </c:pt>
                <c:pt idx="719">
                  <c:v>25.024166666666655</c:v>
                </c:pt>
                <c:pt idx="720">
                  <c:v>12.02083333333333</c:v>
                </c:pt>
                <c:pt idx="721">
                  <c:v>18.067500000000003</c:v>
                </c:pt>
                <c:pt idx="722">
                  <c:v>21.990833333333327</c:v>
                </c:pt>
                <c:pt idx="723">
                  <c:v>-5.8324999999999996</c:v>
                </c:pt>
                <c:pt idx="724">
                  <c:v>22.562500000000004</c:v>
                </c:pt>
                <c:pt idx="725">
                  <c:v>35.345000000000006</c:v>
                </c:pt>
                <c:pt idx="726">
                  <c:v>35.156666666666659</c:v>
                </c:pt>
                <c:pt idx="727">
                  <c:v>22.696666666666658</c:v>
                </c:pt>
                <c:pt idx="728">
                  <c:v>8.8933333333333291</c:v>
                </c:pt>
                <c:pt idx="729">
                  <c:v>30.01583333333333</c:v>
                </c:pt>
                <c:pt idx="730">
                  <c:v>-66.156666666666666</c:v>
                </c:pt>
                <c:pt idx="731">
                  <c:v>40.420000000000009</c:v>
                </c:pt>
                <c:pt idx="732">
                  <c:v>65.234583333333333</c:v>
                </c:pt>
                <c:pt idx="733">
                  <c:v>-16.148333333333337</c:v>
                </c:pt>
                <c:pt idx="734">
                  <c:v>31.245416666666671</c:v>
                </c:pt>
                <c:pt idx="735">
                  <c:v>42.72333333333335</c:v>
                </c:pt>
                <c:pt idx="736">
                  <c:v>14.058749999999998</c:v>
                </c:pt>
                <c:pt idx="737">
                  <c:v>-5.8083333333333327</c:v>
                </c:pt>
                <c:pt idx="738">
                  <c:v>50.541666666666664</c:v>
                </c:pt>
                <c:pt idx="739">
                  <c:v>45.380416666666669</c:v>
                </c:pt>
                <c:pt idx="740">
                  <c:v>7.9108333333333318</c:v>
                </c:pt>
                <c:pt idx="741">
                  <c:v>-6.6670833333333306</c:v>
                </c:pt>
                <c:pt idx="742">
                  <c:v>-10.407916666666667</c:v>
                </c:pt>
                <c:pt idx="743">
                  <c:v>-47.705833333333324</c:v>
                </c:pt>
                <c:pt idx="744">
                  <c:v>-67.790833333333325</c:v>
                </c:pt>
                <c:pt idx="745">
                  <c:v>53.958750000000002</c:v>
                </c:pt>
                <c:pt idx="746">
                  <c:v>56.776666666666664</c:v>
                </c:pt>
                <c:pt idx="747">
                  <c:v>63.276250000000005</c:v>
                </c:pt>
                <c:pt idx="748">
                  <c:v>67.113749999999996</c:v>
                </c:pt>
                <c:pt idx="749">
                  <c:v>98.379583333333315</c:v>
                </c:pt>
                <c:pt idx="750">
                  <c:v>62.111666666666657</c:v>
                </c:pt>
                <c:pt idx="751">
                  <c:v>68.870833333333323</c:v>
                </c:pt>
                <c:pt idx="752">
                  <c:v>120.37416666666662</c:v>
                </c:pt>
                <c:pt idx="753">
                  <c:v>123.82291666666667</c:v>
                </c:pt>
                <c:pt idx="754">
                  <c:v>100.31208333333332</c:v>
                </c:pt>
                <c:pt idx="755">
                  <c:v>81.23875000000001</c:v>
                </c:pt>
                <c:pt idx="756">
                  <c:v>82.621249999999989</c:v>
                </c:pt>
                <c:pt idx="757">
                  <c:v>58.558750000000011</c:v>
                </c:pt>
                <c:pt idx="758">
                  <c:v>37.447916666666671</c:v>
                </c:pt>
                <c:pt idx="759">
                  <c:v>-12.316250000000002</c:v>
                </c:pt>
                <c:pt idx="760">
                  <c:v>27.271666666666672</c:v>
                </c:pt>
                <c:pt idx="761">
                  <c:v>0.69791666666667196</c:v>
                </c:pt>
                <c:pt idx="762">
                  <c:v>46.166666666666664</c:v>
                </c:pt>
                <c:pt idx="763">
                  <c:v>12.370833333333335</c:v>
                </c:pt>
                <c:pt idx="764">
                  <c:v>55.771250000000009</c:v>
                </c:pt>
                <c:pt idx="765">
                  <c:v>41.126666666666679</c:v>
                </c:pt>
                <c:pt idx="766">
                  <c:v>85.09333333333332</c:v>
                </c:pt>
                <c:pt idx="767">
                  <c:v>85.602500000000006</c:v>
                </c:pt>
                <c:pt idx="768">
                  <c:v>64.794583333333335</c:v>
                </c:pt>
                <c:pt idx="769">
                  <c:v>44.53458333333333</c:v>
                </c:pt>
                <c:pt idx="770">
                  <c:v>35.90291666666667</c:v>
                </c:pt>
                <c:pt idx="771">
                  <c:v>16.247916666666672</c:v>
                </c:pt>
                <c:pt idx="772">
                  <c:v>46.288749999999993</c:v>
                </c:pt>
                <c:pt idx="773">
                  <c:v>74.276250000000005</c:v>
                </c:pt>
                <c:pt idx="774">
                  <c:v>65.42291666666668</c:v>
                </c:pt>
                <c:pt idx="775">
                  <c:v>52.231249999999996</c:v>
                </c:pt>
                <c:pt idx="776">
                  <c:v>42.33124999999999</c:v>
                </c:pt>
                <c:pt idx="777">
                  <c:v>-11.980833333333331</c:v>
                </c:pt>
                <c:pt idx="778">
                  <c:v>1.542916666666672</c:v>
                </c:pt>
                <c:pt idx="779">
                  <c:v>20.924166666666675</c:v>
                </c:pt>
                <c:pt idx="780">
                  <c:v>-33.742916666666659</c:v>
                </c:pt>
                <c:pt idx="781">
                  <c:v>25.365833333333331</c:v>
                </c:pt>
                <c:pt idx="782">
                  <c:v>55.067916666666683</c:v>
                </c:pt>
                <c:pt idx="783">
                  <c:v>51.78041666666666</c:v>
                </c:pt>
                <c:pt idx="784">
                  <c:v>24.202500000000011</c:v>
                </c:pt>
                <c:pt idx="785">
                  <c:v>-4.8095833333333262</c:v>
                </c:pt>
                <c:pt idx="786">
                  <c:v>15.722083333333332</c:v>
                </c:pt>
                <c:pt idx="787">
                  <c:v>55.424583333333345</c:v>
                </c:pt>
                <c:pt idx="788">
                  <c:v>51.465000000000003</c:v>
                </c:pt>
                <c:pt idx="789">
                  <c:v>49.248333333333335</c:v>
                </c:pt>
                <c:pt idx="790">
                  <c:v>54.076666666666654</c:v>
                </c:pt>
                <c:pt idx="791">
                  <c:v>47.693750000000001</c:v>
                </c:pt>
                <c:pt idx="792">
                  <c:v>18.401666666666674</c:v>
                </c:pt>
                <c:pt idx="793">
                  <c:v>32.716666666666669</c:v>
                </c:pt>
                <c:pt idx="794">
                  <c:v>60.772916666666667</c:v>
                </c:pt>
                <c:pt idx="795">
                  <c:v>14.277916666666664</c:v>
                </c:pt>
                <c:pt idx="796">
                  <c:v>44.190416666666664</c:v>
                </c:pt>
                <c:pt idx="797">
                  <c:v>31.889166666666672</c:v>
                </c:pt>
                <c:pt idx="798">
                  <c:v>18.893750000000004</c:v>
                </c:pt>
                <c:pt idx="799">
                  <c:v>1.8850000000000009</c:v>
                </c:pt>
                <c:pt idx="800">
                  <c:v>-1.1874999999999982</c:v>
                </c:pt>
                <c:pt idx="801">
                  <c:v>-57.120833333333337</c:v>
                </c:pt>
                <c:pt idx="802">
                  <c:v>-18.320416666666663</c:v>
                </c:pt>
                <c:pt idx="803">
                  <c:v>41.124583333333341</c:v>
                </c:pt>
                <c:pt idx="804">
                  <c:v>21.144583333333326</c:v>
                </c:pt>
                <c:pt idx="805">
                  <c:v>7.7675000000000054</c:v>
                </c:pt>
                <c:pt idx="806">
                  <c:v>24.757499999999997</c:v>
                </c:pt>
                <c:pt idx="807">
                  <c:v>27.412083333333328</c:v>
                </c:pt>
                <c:pt idx="808">
                  <c:v>40.062916666666673</c:v>
                </c:pt>
                <c:pt idx="809">
                  <c:v>28.172500000000003</c:v>
                </c:pt>
                <c:pt idx="810">
                  <c:v>-6.5920833333333277</c:v>
                </c:pt>
                <c:pt idx="811">
                  <c:v>-14.980416666666663</c:v>
                </c:pt>
                <c:pt idx="812">
                  <c:v>-31.984166666666656</c:v>
                </c:pt>
                <c:pt idx="813">
                  <c:v>-70.433750000000003</c:v>
                </c:pt>
                <c:pt idx="814">
                  <c:v>-17.418749999999996</c:v>
                </c:pt>
                <c:pt idx="815">
                  <c:v>7.5483333333333364</c:v>
                </c:pt>
                <c:pt idx="816">
                  <c:v>26.271249999999998</c:v>
                </c:pt>
                <c:pt idx="817">
                  <c:v>28.729166666666657</c:v>
                </c:pt>
                <c:pt idx="818">
                  <c:v>-7.059166666666667</c:v>
                </c:pt>
                <c:pt idx="819">
                  <c:v>8.113749999999996</c:v>
                </c:pt>
                <c:pt idx="820">
                  <c:v>-33.714166666666664</c:v>
                </c:pt>
                <c:pt idx="821">
                  <c:v>-22.14916666666667</c:v>
                </c:pt>
                <c:pt idx="822">
                  <c:v>21.557916666666674</c:v>
                </c:pt>
                <c:pt idx="823">
                  <c:v>39.60958333333334</c:v>
                </c:pt>
                <c:pt idx="824">
                  <c:v>46.841666666666676</c:v>
                </c:pt>
                <c:pt idx="825">
                  <c:v>30.134583333333328</c:v>
                </c:pt>
                <c:pt idx="826">
                  <c:v>14.480416666666665</c:v>
                </c:pt>
                <c:pt idx="827">
                  <c:v>22.744166666666661</c:v>
                </c:pt>
                <c:pt idx="828">
                  <c:v>10.897499999999994</c:v>
                </c:pt>
                <c:pt idx="829">
                  <c:v>39.974583333333335</c:v>
                </c:pt>
                <c:pt idx="830">
                  <c:v>-34.874583333333327</c:v>
                </c:pt>
                <c:pt idx="831">
                  <c:v>14.302500000000002</c:v>
                </c:pt>
                <c:pt idx="832">
                  <c:v>16.463750000000001</c:v>
                </c:pt>
                <c:pt idx="833">
                  <c:v>37.415833333333332</c:v>
                </c:pt>
                <c:pt idx="834">
                  <c:v>15.417083333333332</c:v>
                </c:pt>
                <c:pt idx="835">
                  <c:v>18.719583333333336</c:v>
                </c:pt>
                <c:pt idx="836">
                  <c:v>33.61583333333332</c:v>
                </c:pt>
                <c:pt idx="837">
                  <c:v>15.365416666666667</c:v>
                </c:pt>
                <c:pt idx="838">
                  <c:v>-4.484166666666666</c:v>
                </c:pt>
                <c:pt idx="839">
                  <c:v>22.166249999999991</c:v>
                </c:pt>
                <c:pt idx="840">
                  <c:v>2.1849999999999912</c:v>
                </c:pt>
                <c:pt idx="841">
                  <c:v>-2.8229166666666732</c:v>
                </c:pt>
                <c:pt idx="842">
                  <c:v>-1.4891666666666759</c:v>
                </c:pt>
                <c:pt idx="843">
                  <c:v>18.66333333333333</c:v>
                </c:pt>
                <c:pt idx="844">
                  <c:v>16.156249999999996</c:v>
                </c:pt>
                <c:pt idx="845">
                  <c:v>27.180833333333329</c:v>
                </c:pt>
                <c:pt idx="846">
                  <c:v>28.055833333333329</c:v>
                </c:pt>
                <c:pt idx="847">
                  <c:v>20.633333333333326</c:v>
                </c:pt>
                <c:pt idx="848">
                  <c:v>15.27624999999999</c:v>
                </c:pt>
                <c:pt idx="849">
                  <c:v>-17.083333333333339</c:v>
                </c:pt>
                <c:pt idx="850">
                  <c:v>3.5891666666666744</c:v>
                </c:pt>
                <c:pt idx="851">
                  <c:v>19.791249999999998</c:v>
                </c:pt>
                <c:pt idx="852">
                  <c:v>24.788749999999993</c:v>
                </c:pt>
                <c:pt idx="853">
                  <c:v>14.779583333333335</c:v>
                </c:pt>
                <c:pt idx="854">
                  <c:v>13.069999999999991</c:v>
                </c:pt>
                <c:pt idx="855">
                  <c:v>6.5445833333333292</c:v>
                </c:pt>
                <c:pt idx="856">
                  <c:v>-15.997500000000004</c:v>
                </c:pt>
                <c:pt idx="857">
                  <c:v>12.9625</c:v>
                </c:pt>
                <c:pt idx="858">
                  <c:v>9.8879166666666674</c:v>
                </c:pt>
                <c:pt idx="859">
                  <c:v>20.503749999999997</c:v>
                </c:pt>
                <c:pt idx="860">
                  <c:v>29.835416666666674</c:v>
                </c:pt>
                <c:pt idx="861">
                  <c:v>14.146250000000002</c:v>
                </c:pt>
                <c:pt idx="862">
                  <c:v>-8.0066666666666624</c:v>
                </c:pt>
                <c:pt idx="863">
                  <c:v>-14.357500000000002</c:v>
                </c:pt>
                <c:pt idx="864">
                  <c:v>28.930416666666673</c:v>
                </c:pt>
                <c:pt idx="865">
                  <c:v>-7.2245833333333307</c:v>
                </c:pt>
                <c:pt idx="866">
                  <c:v>-7.5362500000000034</c:v>
                </c:pt>
                <c:pt idx="867">
                  <c:v>-1.0258333333333383</c:v>
                </c:pt>
                <c:pt idx="868">
                  <c:v>-0.50541666666667184</c:v>
                </c:pt>
                <c:pt idx="869">
                  <c:v>-40.980833333333344</c:v>
                </c:pt>
                <c:pt idx="870">
                  <c:v>-59.325833333333328</c:v>
                </c:pt>
                <c:pt idx="871">
                  <c:v>11.681249999999997</c:v>
                </c:pt>
                <c:pt idx="872">
                  <c:v>-10.894583333333344</c:v>
                </c:pt>
                <c:pt idx="873">
                  <c:v>18.923333333333332</c:v>
                </c:pt>
                <c:pt idx="874">
                  <c:v>0.41999999999999638</c:v>
                </c:pt>
                <c:pt idx="875">
                  <c:v>-10.575833333333337</c:v>
                </c:pt>
                <c:pt idx="876">
                  <c:v>-17.888333333333335</c:v>
                </c:pt>
                <c:pt idx="877">
                  <c:v>-54.006666666666668</c:v>
                </c:pt>
                <c:pt idx="878">
                  <c:v>-59.677500000000002</c:v>
                </c:pt>
                <c:pt idx="879">
                  <c:v>8.9187500000000046</c:v>
                </c:pt>
                <c:pt idx="880">
                  <c:v>-7.0624999999999929</c:v>
                </c:pt>
                <c:pt idx="881">
                  <c:v>-4.2095833333333337</c:v>
                </c:pt>
                <c:pt idx="882">
                  <c:v>3.636666666666672</c:v>
                </c:pt>
                <c:pt idx="883">
                  <c:v>-21.012916666666658</c:v>
                </c:pt>
                <c:pt idx="884">
                  <c:v>-27.707083333333333</c:v>
                </c:pt>
                <c:pt idx="885">
                  <c:v>9.8770833333333403</c:v>
                </c:pt>
                <c:pt idx="886">
                  <c:v>18.089166666666671</c:v>
                </c:pt>
                <c:pt idx="887">
                  <c:v>19.010833333333334</c:v>
                </c:pt>
                <c:pt idx="888">
                  <c:v>2.1979166666666754</c:v>
                </c:pt>
                <c:pt idx="889">
                  <c:v>1.6237499999999987</c:v>
                </c:pt>
                <c:pt idx="890">
                  <c:v>-29.932499999999994</c:v>
                </c:pt>
                <c:pt idx="891">
                  <c:v>-44.313333333333333</c:v>
                </c:pt>
                <c:pt idx="892">
                  <c:v>10.308749999999995</c:v>
                </c:pt>
                <c:pt idx="893">
                  <c:v>1.9070833333333281</c:v>
                </c:pt>
                <c:pt idx="894">
                  <c:v>11.419583333333343</c:v>
                </c:pt>
                <c:pt idx="895">
                  <c:v>28.898333333333344</c:v>
                </c:pt>
                <c:pt idx="896">
                  <c:v>37.01</c:v>
                </c:pt>
                <c:pt idx="897">
                  <c:v>14.028333333333329</c:v>
                </c:pt>
                <c:pt idx="898">
                  <c:v>2.5145833333333272</c:v>
                </c:pt>
                <c:pt idx="899">
                  <c:v>26.722916666666674</c:v>
                </c:pt>
                <c:pt idx="900">
                  <c:v>28.247499999999992</c:v>
                </c:pt>
                <c:pt idx="901">
                  <c:v>34.87916666666667</c:v>
                </c:pt>
                <c:pt idx="902">
                  <c:v>37.511249999999997</c:v>
                </c:pt>
                <c:pt idx="903">
                  <c:v>20.476249999999997</c:v>
                </c:pt>
                <c:pt idx="904">
                  <c:v>-4.112916666666675</c:v>
                </c:pt>
                <c:pt idx="905">
                  <c:v>-10.446666666666671</c:v>
                </c:pt>
                <c:pt idx="906">
                  <c:v>13.189583333333337</c:v>
                </c:pt>
                <c:pt idx="907">
                  <c:v>14.696250000000001</c:v>
                </c:pt>
                <c:pt idx="908">
                  <c:v>26.395833333333329</c:v>
                </c:pt>
                <c:pt idx="909">
                  <c:v>31.790833333333325</c:v>
                </c:pt>
                <c:pt idx="910">
                  <c:v>22.546666666666663</c:v>
                </c:pt>
                <c:pt idx="911">
                  <c:v>-21.065416666666678</c:v>
                </c:pt>
                <c:pt idx="912">
                  <c:v>-141.35083333333338</c:v>
                </c:pt>
                <c:pt idx="913">
                  <c:v>-32.499166666666667</c:v>
                </c:pt>
                <c:pt idx="914">
                  <c:v>-0.52666666666667139</c:v>
                </c:pt>
                <c:pt idx="915">
                  <c:v>-14.460833333333341</c:v>
                </c:pt>
                <c:pt idx="916">
                  <c:v>22.754583333333329</c:v>
                </c:pt>
                <c:pt idx="917">
                  <c:v>18.317916666666662</c:v>
                </c:pt>
                <c:pt idx="918">
                  <c:v>-2.4583333333333375</c:v>
                </c:pt>
                <c:pt idx="919">
                  <c:v>4.6820833333333267</c:v>
                </c:pt>
                <c:pt idx="920">
                  <c:v>29.186250000000001</c:v>
                </c:pt>
                <c:pt idx="921">
                  <c:v>20.707916666666666</c:v>
                </c:pt>
                <c:pt idx="922">
                  <c:v>3.1875000000000053</c:v>
                </c:pt>
                <c:pt idx="923">
                  <c:v>13.360000000000005</c:v>
                </c:pt>
                <c:pt idx="924">
                  <c:v>12.427083333333323</c:v>
                </c:pt>
                <c:pt idx="925">
                  <c:v>-51.216250000000002</c:v>
                </c:pt>
                <c:pt idx="926">
                  <c:v>-70.010416666666671</c:v>
                </c:pt>
                <c:pt idx="927">
                  <c:v>-3.0712499999999956</c:v>
                </c:pt>
                <c:pt idx="928">
                  <c:v>20.614583333333332</c:v>
                </c:pt>
                <c:pt idx="929">
                  <c:v>9.6470833333333275</c:v>
                </c:pt>
                <c:pt idx="930">
                  <c:v>7.5187500000000087</c:v>
                </c:pt>
                <c:pt idx="931">
                  <c:v>14.54</c:v>
                </c:pt>
                <c:pt idx="932">
                  <c:v>-13.125833333333333</c:v>
                </c:pt>
                <c:pt idx="933">
                  <c:v>-58.93666666666666</c:v>
                </c:pt>
                <c:pt idx="934">
                  <c:v>0.98999999999999366</c:v>
                </c:pt>
                <c:pt idx="935">
                  <c:v>13.834583333333336</c:v>
                </c:pt>
                <c:pt idx="936">
                  <c:v>5.9845833333333287</c:v>
                </c:pt>
                <c:pt idx="937">
                  <c:v>4.4112499999999999</c:v>
                </c:pt>
                <c:pt idx="938">
                  <c:v>8.7691666666666634</c:v>
                </c:pt>
                <c:pt idx="939">
                  <c:v>-10.47458333333334</c:v>
                </c:pt>
                <c:pt idx="940">
                  <c:v>-55.395416666666669</c:v>
                </c:pt>
                <c:pt idx="941">
                  <c:v>-14.19083333333333</c:v>
                </c:pt>
                <c:pt idx="942">
                  <c:v>-4.4220833333333287</c:v>
                </c:pt>
                <c:pt idx="943">
                  <c:v>-13.962083333333334</c:v>
                </c:pt>
                <c:pt idx="944">
                  <c:v>-38.175416666666671</c:v>
                </c:pt>
                <c:pt idx="945">
                  <c:v>16.144583333333333</c:v>
                </c:pt>
                <c:pt idx="946">
                  <c:v>7.8570833333333319</c:v>
                </c:pt>
                <c:pt idx="947">
                  <c:v>-24.540416666666676</c:v>
                </c:pt>
                <c:pt idx="948">
                  <c:v>-62.044583333333328</c:v>
                </c:pt>
                <c:pt idx="949">
                  <c:v>-71.102916666666658</c:v>
                </c:pt>
                <c:pt idx="950">
                  <c:v>5.6087500000000077</c:v>
                </c:pt>
                <c:pt idx="951">
                  <c:v>18.512500000000003</c:v>
                </c:pt>
                <c:pt idx="952">
                  <c:v>14.944166666666662</c:v>
                </c:pt>
                <c:pt idx="953">
                  <c:v>-5.3649999999999993</c:v>
                </c:pt>
                <c:pt idx="954">
                  <c:v>-20.291250000000002</c:v>
                </c:pt>
                <c:pt idx="955">
                  <c:v>16.901666666666664</c:v>
                </c:pt>
                <c:pt idx="956">
                  <c:v>7.7166666666666659</c:v>
                </c:pt>
                <c:pt idx="957">
                  <c:v>23.637083333333337</c:v>
                </c:pt>
                <c:pt idx="958">
                  <c:v>23.832499999999996</c:v>
                </c:pt>
                <c:pt idx="959">
                  <c:v>22.26</c:v>
                </c:pt>
                <c:pt idx="960">
                  <c:v>-1.9379166666666698</c:v>
                </c:pt>
                <c:pt idx="961">
                  <c:v>3.3920833333333285</c:v>
                </c:pt>
                <c:pt idx="962">
                  <c:v>34.517083333333339</c:v>
                </c:pt>
                <c:pt idx="963">
                  <c:v>34.232083333333328</c:v>
                </c:pt>
                <c:pt idx="964">
                  <c:v>59.242499999999986</c:v>
                </c:pt>
                <c:pt idx="965">
                  <c:v>62.005833333333328</c:v>
                </c:pt>
                <c:pt idx="966">
                  <c:v>31.760833333333334</c:v>
                </c:pt>
                <c:pt idx="967">
                  <c:v>12.015416666666667</c:v>
                </c:pt>
                <c:pt idx="968">
                  <c:v>17.399166666666666</c:v>
                </c:pt>
                <c:pt idx="969">
                  <c:v>33.882083333333334</c:v>
                </c:pt>
                <c:pt idx="970">
                  <c:v>39.02375</c:v>
                </c:pt>
                <c:pt idx="971">
                  <c:v>29.577500000000001</c:v>
                </c:pt>
                <c:pt idx="972">
                  <c:v>19.436666666666664</c:v>
                </c:pt>
                <c:pt idx="973">
                  <c:v>24.201666666666664</c:v>
                </c:pt>
                <c:pt idx="974">
                  <c:v>10.763333333333327</c:v>
                </c:pt>
                <c:pt idx="975">
                  <c:v>-1.7225000000000019</c:v>
                </c:pt>
                <c:pt idx="976">
                  <c:v>25.185416666666665</c:v>
                </c:pt>
                <c:pt idx="977">
                  <c:v>20.592083333333331</c:v>
                </c:pt>
                <c:pt idx="978">
                  <c:v>22.82791666666667</c:v>
                </c:pt>
                <c:pt idx="979">
                  <c:v>18.9358333333333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FCF-4726-B5FA-D7D8F85AE3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50742352"/>
        <c:axId val="650737072"/>
      </c:lineChart>
      <c:catAx>
        <c:axId val="650742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50737072"/>
        <c:crosses val="autoZero"/>
        <c:auto val="1"/>
        <c:lblAlgn val="ctr"/>
        <c:lblOffset val="100"/>
        <c:noMultiLvlLbl val="0"/>
      </c:catAx>
      <c:valAx>
        <c:axId val="6507370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[€/MWh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507423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Catego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279348757497857E-2"/>
          <c:y val="2.2279348757497857E-2"/>
          <c:w val="0.95544130248500425"/>
          <c:h val="0.95544130248500425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3810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2DEF-4C43-BE85-DF88AB985D1E}"/>
              </c:ext>
            </c:extLst>
          </c:dPt>
          <c:dPt>
            <c:idx val="1"/>
            <c:bubble3D val="0"/>
            <c:spPr>
              <a:solidFill>
                <a:srgbClr val="808080"/>
              </a:solidFill>
              <a:ln w="3810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DEF-4C43-BE85-DF88AB985D1E}"/>
              </c:ext>
            </c:extLst>
          </c:dPt>
          <c:dLbls>
            <c:dLbl>
              <c:idx val="0"/>
              <c:layout>
                <c:manualLayout>
                  <c:x val="0.10454155955441302"/>
                  <c:y val="0.1443873179091688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DEF-4C43-BE85-DF88AB985D1E}"/>
                </c:ext>
              </c:extLst>
            </c:dLbl>
            <c:dLbl>
              <c:idx val="1"/>
              <c:layout>
                <c:manualLayout>
                  <c:x val="-0.10454155955441302"/>
                  <c:y val="-0.1443873179091688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DEF-4C43-BE85-DF88AB985D1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8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DEF-4C43-BE85-DF88AB985D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72538860103627E-2"/>
          <c:y val="2.2203245089666951E-2"/>
          <c:w val="0.95854922279792742"/>
          <c:h val="0.9555935098206660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57</c:v>
                </c:pt>
                <c:pt idx="1">
                  <c:v>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49-4D38-A100-25EA43AEBE2A}"/>
            </c:ext>
          </c:extLst>
        </c:ser>
        <c:ser>
          <c:idx val="1"/>
          <c:order val="1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290</c:v>
                </c:pt>
                <c:pt idx="1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D49-4D38-A100-25EA43AEBE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99207240"/>
        <c:axId val="1"/>
      </c:barChart>
      <c:catAx>
        <c:axId val="499207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5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992072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9BB280-12A0-49E2-822D-0E2A9CE4E4D0}" type="datetimeFigureOut">
              <a:rPr lang="de-DE" smtClean="0"/>
              <a:t>21.1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EDDE8F-724B-4AA4-A820-F9741C657AC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83060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Auch verfügbar als Titelfolie ohne Bild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EDDE8F-724B-4AA4-A820-F9741C657AC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36626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Es können die Aufhellungen der Design-Farben des MIBRAG-Farbschemas verwendet werden (außer bei Braun, hier bitte keine Aufhellungen verwenden)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EDDE8F-724B-4AA4-A820-F9741C657AC6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70352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Es können die Aufhellungen der Design-Farben des MIBRAG-Farbschemas verwendet werden (außer bei Braun, hier bitte keine Aufhellungen verwenden)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EDDE8F-724B-4AA4-A820-F9741C657AC6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27819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Es können die Aufhellungen der Design-Farben des MIBRAG-Farbschemas verwendet werden (außer bei Braun, hier bitte keine Aufhellungen verwenden)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EDDE8F-724B-4AA4-A820-F9741C657AC6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37455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Es können die Aufhellungen der Design-Farben des MIBRAG-Farbschemas verwendet werden (außer bei Braun, hier bitte keine Aufhellungen verwenden)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EDDE8F-724B-4AA4-A820-F9741C657AC6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05457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EDDE8F-724B-4AA4-A820-F9741C657AC6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88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err="1"/>
              <a:t>Lünig</a:t>
            </a:r>
            <a:r>
              <a:rPr lang="de-DE"/>
              <a:t>, einzeln</a:t>
            </a:r>
            <a:r>
              <a:rPr lang="de-DE" baseline="0"/>
              <a:t> animieren (Erscheinen)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EDDE8F-724B-4AA4-A820-F9741C657AC6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40741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Es können die Aufhellungen der Design-Farben des MIBRAG-Farbschemas verwendet werden (außer bei Braun, hier bitte keine Aufhellungen verwenden)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EDDE8F-724B-4AA4-A820-F9741C657AC6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63873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Unter Start &gt; Folien &gt; Neue Folie sind weiter Folien verfügbar: </a:t>
            </a:r>
            <a:br>
              <a:rPr lang="de-DE"/>
            </a:br>
            <a:r>
              <a:rPr lang="de-DE"/>
              <a:t>- Vollbildfoli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- Animationsfolie z. B. für Veranstaltungen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- Hintergrundfolie z. B. für Veranstaltunge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- Graue </a:t>
            </a:r>
            <a:r>
              <a:rPr lang="de-DE" err="1"/>
              <a:t>Hintergrundfolige</a:t>
            </a:r>
            <a:r>
              <a:rPr lang="de-DE"/>
              <a:t> als dezenter Hintergrund für Portraits oder Video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  <a:p>
            <a:endParaRPr lang="de-DE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EDDE8F-724B-4AA4-A820-F9741C657AC6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858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476277-B421-4AC8-A6B9-649AB44844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6000" y="4578580"/>
            <a:ext cx="10080000" cy="1080000"/>
          </a:xfrm>
        </p:spPr>
        <p:txBody>
          <a:bodyPr anchor="t" anchorCtr="0"/>
          <a:lstStyle>
            <a:lvl1pPr algn="l">
              <a:defRPr sz="3200" b="1" cap="none" spc="5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A1F61AA-DCA4-4A47-8933-0658D0A0CE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6000" y="5877000"/>
            <a:ext cx="9072000" cy="72000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Name und Funktion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1CEA99B-A771-4C35-ACBB-6EF6A6109C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56000" y="4360160"/>
            <a:ext cx="900000" cy="180000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/>
              <a:t>21.11.2023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2A3908E-7550-4E48-A424-CD337644A8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0000" y="5769000"/>
            <a:ext cx="1498235" cy="900000"/>
          </a:xfrm>
          <a:prstGeom prst="rect">
            <a:avLst/>
          </a:prstGeom>
        </p:spPr>
      </p:pic>
      <p:sp>
        <p:nvSpPr>
          <p:cNvPr id="6" name="Bildplatzhalter 5">
            <a:extLst>
              <a:ext uri="{FF2B5EF4-FFF2-40B4-BE49-F238E27FC236}">
                <a16:creationId xmlns:a16="http://schemas.microsoft.com/office/drawing/2014/main" id="{AE29BF6C-89A2-4843-9EB3-C6F7879713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4141788"/>
          </a:xfrm>
        </p:spPr>
        <p:txBody>
          <a:bodyPr anchor="ctr" anchorCtr="0"/>
          <a:lstStyle>
            <a:lvl1pPr marL="0" indent="0" algn="ctr">
              <a:buNone/>
              <a:defRPr/>
            </a:lvl1pPr>
            <a:lvl2pPr marL="0" indent="0" algn="ctr">
              <a:buNone/>
              <a:defRPr/>
            </a:lvl2pPr>
          </a:lstStyle>
          <a:p>
            <a:pPr lvl="1"/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9978748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07CC0DF8-D992-483C-857B-1124E89445DF}"/>
              </a:ext>
            </a:extLst>
          </p:cNvPr>
          <p:cNvSpPr/>
          <p:nvPr userDrawn="1"/>
        </p:nvSpPr>
        <p:spPr>
          <a:xfrm>
            <a:off x="0" y="6660000"/>
            <a:ext cx="12193200" cy="2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910CFEF-DE01-46B6-974E-9292275FC0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000" y="180000"/>
            <a:ext cx="10236000" cy="71814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F06A279-EB89-4CE4-A6BF-71FF49A50A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088000" y="6669000"/>
            <a:ext cx="900000" cy="1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1.11.2023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F0D7B0-EF97-4A17-9203-F5DB637F5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6669000"/>
            <a:ext cx="10260000" cy="1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HK/OHK-Workshop zur Energiewende in Deutschland und Tschechi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F1070F1-036E-489A-AEFC-22328A52B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0000" y="6669000"/>
            <a:ext cx="432000" cy="1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A7ED917-9624-4009-AF03-A08CE5788EE5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44912B0-0CD5-4385-832F-F47EC6D0CE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9860" y="117000"/>
            <a:ext cx="898942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5301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476277-B421-4AC8-A6B9-649AB44844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0000" y="2209025"/>
            <a:ext cx="10080000" cy="1080000"/>
          </a:xfrm>
        </p:spPr>
        <p:txBody>
          <a:bodyPr anchor="t" anchorCtr="0"/>
          <a:lstStyle>
            <a:lvl1pPr algn="l">
              <a:defRPr sz="3200" b="1" cap="none" spc="5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A1F61AA-DCA4-4A47-8933-0658D0A0CE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80000" y="3507445"/>
            <a:ext cx="10080000" cy="72000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Name und Funktion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1CEA99B-A771-4C35-ACBB-6EF6A6109C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0000" y="1990605"/>
            <a:ext cx="900000" cy="180000"/>
          </a:xfrm>
        </p:spPr>
        <p:txBody>
          <a:bodyPr/>
          <a:lstStyle>
            <a:lvl1pPr algn="l">
              <a:defRPr/>
            </a:lvl1pPr>
          </a:lstStyle>
          <a:p>
            <a:r>
              <a:rPr lang="de-DE"/>
              <a:t>21.11.2023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2A3908E-7550-4E48-A424-CD337644A8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0000" y="5769000"/>
            <a:ext cx="1498235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6933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07CC0DF8-D992-483C-857B-1124E89445DF}"/>
              </a:ext>
            </a:extLst>
          </p:cNvPr>
          <p:cNvSpPr/>
          <p:nvPr userDrawn="1"/>
        </p:nvSpPr>
        <p:spPr>
          <a:xfrm>
            <a:off x="0" y="6660000"/>
            <a:ext cx="12193200" cy="2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F06A279-EB89-4CE4-A6BF-71FF49A50A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088000" y="6669000"/>
            <a:ext cx="900000" cy="1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1.11.2023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F0D7B0-EF97-4A17-9203-F5DB637F5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000" y="6669000"/>
            <a:ext cx="10260000" cy="1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HK/OHK-Workshop zur Energiewende in Deutschland und Tschechi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F1070F1-036E-489A-AEFC-22328A52B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0000" y="6669000"/>
            <a:ext cx="432000" cy="1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A7ED917-9624-4009-AF03-A08CE5788EE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CBFF591-D309-488A-B449-EC7E4EC6BC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659563"/>
          </a:xfrm>
        </p:spPr>
        <p:txBody>
          <a:bodyPr anchor="ctr" anchorCtr="0"/>
          <a:lstStyle>
            <a:lvl1pPr algn="ctr">
              <a:defRPr/>
            </a:lvl1pPr>
            <a:lvl2pPr algn="ctr">
              <a:defRPr/>
            </a:lvl2pPr>
          </a:lstStyle>
          <a:p>
            <a:pPr lvl="1"/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845767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o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07CC0DF8-D992-483C-857B-1124E89445DF}"/>
              </a:ext>
            </a:extLst>
          </p:cNvPr>
          <p:cNvSpPr/>
          <p:nvPr userDrawn="1"/>
        </p:nvSpPr>
        <p:spPr>
          <a:xfrm>
            <a:off x="0" y="6660000"/>
            <a:ext cx="12193200" cy="2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67776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Keyvisu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Grafik 68">
            <a:extLst>
              <a:ext uri="{FF2B5EF4-FFF2-40B4-BE49-F238E27FC236}">
                <a16:creationId xmlns:a16="http://schemas.microsoft.com/office/drawing/2014/main" id="{F9A1FFFB-3BCA-4586-8B60-12B3D12DE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01" y="-963000"/>
            <a:ext cx="12172098" cy="7643503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620FC87-7259-468C-ADB1-6875243EE0F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000" y="1080000"/>
            <a:ext cx="5856944" cy="1368425"/>
          </a:xfrm>
          <a:noFill/>
        </p:spPr>
        <p:txBody>
          <a:bodyPr>
            <a:normAutofit/>
          </a:bodyPr>
          <a:lstStyle>
            <a:lvl1pPr algn="l">
              <a:defRPr sz="32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Glückauf und vielen Dank für Ihre Aufmerksamkeit!</a:t>
            </a:r>
          </a:p>
        </p:txBody>
      </p:sp>
      <p:pic>
        <p:nvPicPr>
          <p:cNvPr id="68" name="Grafik 67">
            <a:extLst>
              <a:ext uri="{FF2B5EF4-FFF2-40B4-BE49-F238E27FC236}">
                <a16:creationId xmlns:a16="http://schemas.microsoft.com/office/drawing/2014/main" id="{F0A2B00C-56C5-4760-A2DC-0DFEC5CF1D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0000" y="5769000"/>
            <a:ext cx="1498235" cy="900000"/>
          </a:xfrm>
          <a:prstGeom prst="rect">
            <a:avLst/>
          </a:prstGeom>
        </p:spPr>
      </p:pic>
      <p:pic>
        <p:nvPicPr>
          <p:cNvPr id="70" name="Grafik 69">
            <a:extLst>
              <a:ext uri="{FF2B5EF4-FFF2-40B4-BE49-F238E27FC236}">
                <a16:creationId xmlns:a16="http://schemas.microsoft.com/office/drawing/2014/main" id="{37D57866-D2CA-4B31-92A0-56DE721A19E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170" y="5248033"/>
            <a:ext cx="452438" cy="461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960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accel="20000" decel="2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ion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5C779053-8D3E-4A2E-834C-3DE43D896C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0000" y="5769000"/>
            <a:ext cx="1498235" cy="900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42782985-1CD1-4BF5-95B9-0E781DDE04D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01" y="-963000"/>
            <a:ext cx="12172098" cy="764350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101624A9-4AB5-42B5-8015-2A47491647C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170" y="5248033"/>
            <a:ext cx="452438" cy="461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75037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accel="20000" decel="2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5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Grafik 87">
            <a:extLst>
              <a:ext uri="{FF2B5EF4-FFF2-40B4-BE49-F238E27FC236}">
                <a16:creationId xmlns:a16="http://schemas.microsoft.com/office/drawing/2014/main" id="{45E6CF68-5D28-433A-8181-6085A19FCD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81" y="193390"/>
            <a:ext cx="754761" cy="453390"/>
          </a:xfrm>
          <a:prstGeom prst="rect">
            <a:avLst/>
          </a:prstGeom>
        </p:spPr>
      </p:pic>
      <p:pic>
        <p:nvPicPr>
          <p:cNvPr id="89" name="Grafik 88">
            <a:extLst>
              <a:ext uri="{FF2B5EF4-FFF2-40B4-BE49-F238E27FC236}">
                <a16:creationId xmlns:a16="http://schemas.microsoft.com/office/drawing/2014/main" id="{41157DC0-B487-43E2-B4F2-5F8EC5E3FF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8000" y="193390"/>
            <a:ext cx="754761" cy="453390"/>
          </a:xfrm>
          <a:prstGeom prst="rect">
            <a:avLst/>
          </a:prstGeom>
        </p:spPr>
      </p:pic>
      <p:pic>
        <p:nvPicPr>
          <p:cNvPr id="90" name="Grafik 89">
            <a:extLst>
              <a:ext uri="{FF2B5EF4-FFF2-40B4-BE49-F238E27FC236}">
                <a16:creationId xmlns:a16="http://schemas.microsoft.com/office/drawing/2014/main" id="{C724C820-D745-4205-B3FE-D4BEE01FE8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5329" y="193390"/>
            <a:ext cx="754761" cy="453390"/>
          </a:xfrm>
          <a:prstGeom prst="rect">
            <a:avLst/>
          </a:prstGeom>
        </p:spPr>
      </p:pic>
      <p:pic>
        <p:nvPicPr>
          <p:cNvPr id="91" name="Grafik 90">
            <a:extLst>
              <a:ext uri="{FF2B5EF4-FFF2-40B4-BE49-F238E27FC236}">
                <a16:creationId xmlns:a16="http://schemas.microsoft.com/office/drawing/2014/main" id="{F7178A94-8506-46C9-AB5D-5217CAB499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848" y="193390"/>
            <a:ext cx="754761" cy="453390"/>
          </a:xfrm>
          <a:prstGeom prst="rect">
            <a:avLst/>
          </a:prstGeom>
        </p:spPr>
      </p:pic>
      <p:pic>
        <p:nvPicPr>
          <p:cNvPr id="92" name="Grafik 91">
            <a:extLst>
              <a:ext uri="{FF2B5EF4-FFF2-40B4-BE49-F238E27FC236}">
                <a16:creationId xmlns:a16="http://schemas.microsoft.com/office/drawing/2014/main" id="{FF160C4D-7482-4CEB-B9DC-E66CAAA637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8999" y="193390"/>
            <a:ext cx="754761" cy="453390"/>
          </a:xfrm>
          <a:prstGeom prst="rect">
            <a:avLst/>
          </a:prstGeom>
        </p:spPr>
      </p:pic>
      <p:pic>
        <p:nvPicPr>
          <p:cNvPr id="93" name="Grafik 92">
            <a:extLst>
              <a:ext uri="{FF2B5EF4-FFF2-40B4-BE49-F238E27FC236}">
                <a16:creationId xmlns:a16="http://schemas.microsoft.com/office/drawing/2014/main" id="{CDAC0BDC-2D86-4CBD-8DFE-520DE3376D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6328" y="193390"/>
            <a:ext cx="754761" cy="453390"/>
          </a:xfrm>
          <a:prstGeom prst="rect">
            <a:avLst/>
          </a:prstGeom>
        </p:spPr>
      </p:pic>
      <p:pic>
        <p:nvPicPr>
          <p:cNvPr id="94" name="Grafik 93">
            <a:extLst>
              <a:ext uri="{FF2B5EF4-FFF2-40B4-BE49-F238E27FC236}">
                <a16:creationId xmlns:a16="http://schemas.microsoft.com/office/drawing/2014/main" id="{AB3D614F-CD46-40A6-872D-66AE2CF6B6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4847" y="193390"/>
            <a:ext cx="754761" cy="453390"/>
          </a:xfrm>
          <a:prstGeom prst="rect">
            <a:avLst/>
          </a:prstGeom>
        </p:spPr>
      </p:pic>
      <p:pic>
        <p:nvPicPr>
          <p:cNvPr id="102" name="Grafik 101">
            <a:extLst>
              <a:ext uri="{FF2B5EF4-FFF2-40B4-BE49-F238E27FC236}">
                <a16:creationId xmlns:a16="http://schemas.microsoft.com/office/drawing/2014/main" id="{3E76A2F1-72FC-4088-964C-76857CBBCF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676" t="2599"/>
          <a:stretch/>
        </p:blipFill>
        <p:spPr>
          <a:xfrm>
            <a:off x="0" y="836999"/>
            <a:ext cx="462849" cy="441609"/>
          </a:xfrm>
          <a:prstGeom prst="rect">
            <a:avLst/>
          </a:prstGeom>
        </p:spPr>
      </p:pic>
      <p:pic>
        <p:nvPicPr>
          <p:cNvPr id="103" name="Grafik 102">
            <a:extLst>
              <a:ext uri="{FF2B5EF4-FFF2-40B4-BE49-F238E27FC236}">
                <a16:creationId xmlns:a16="http://schemas.microsoft.com/office/drawing/2014/main" id="{946925EE-D042-4595-A63C-9666729C1A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6607" y="825219"/>
            <a:ext cx="754761" cy="453390"/>
          </a:xfrm>
          <a:prstGeom prst="rect">
            <a:avLst/>
          </a:prstGeom>
        </p:spPr>
      </p:pic>
      <p:pic>
        <p:nvPicPr>
          <p:cNvPr id="104" name="Grafik 103">
            <a:extLst>
              <a:ext uri="{FF2B5EF4-FFF2-40B4-BE49-F238E27FC236}">
                <a16:creationId xmlns:a16="http://schemas.microsoft.com/office/drawing/2014/main" id="{3D003033-972F-451B-AD6D-EC23DD6E30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3936" y="825219"/>
            <a:ext cx="754761" cy="453390"/>
          </a:xfrm>
          <a:prstGeom prst="rect">
            <a:avLst/>
          </a:prstGeom>
        </p:spPr>
      </p:pic>
      <p:pic>
        <p:nvPicPr>
          <p:cNvPr id="105" name="Grafik 104">
            <a:extLst>
              <a:ext uri="{FF2B5EF4-FFF2-40B4-BE49-F238E27FC236}">
                <a16:creationId xmlns:a16="http://schemas.microsoft.com/office/drawing/2014/main" id="{76CBA9FE-19C1-4F71-97D6-4F032010F4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2455" y="825219"/>
            <a:ext cx="754761" cy="453390"/>
          </a:xfrm>
          <a:prstGeom prst="rect">
            <a:avLst/>
          </a:prstGeom>
        </p:spPr>
      </p:pic>
      <p:pic>
        <p:nvPicPr>
          <p:cNvPr id="106" name="Grafik 105">
            <a:extLst>
              <a:ext uri="{FF2B5EF4-FFF2-40B4-BE49-F238E27FC236}">
                <a16:creationId xmlns:a16="http://schemas.microsoft.com/office/drawing/2014/main" id="{3D65EC2A-25B6-4891-A45B-62F76C21E9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7606" y="825219"/>
            <a:ext cx="754761" cy="453390"/>
          </a:xfrm>
          <a:prstGeom prst="rect">
            <a:avLst/>
          </a:prstGeom>
        </p:spPr>
      </p:pic>
      <p:pic>
        <p:nvPicPr>
          <p:cNvPr id="107" name="Grafik 106">
            <a:extLst>
              <a:ext uri="{FF2B5EF4-FFF2-40B4-BE49-F238E27FC236}">
                <a16:creationId xmlns:a16="http://schemas.microsoft.com/office/drawing/2014/main" id="{E6E3D563-82FB-4594-A4EF-5417B4B5C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4935" y="825219"/>
            <a:ext cx="754761" cy="453390"/>
          </a:xfrm>
          <a:prstGeom prst="rect">
            <a:avLst/>
          </a:prstGeom>
        </p:spPr>
      </p:pic>
      <p:pic>
        <p:nvPicPr>
          <p:cNvPr id="108" name="Grafik 107">
            <a:extLst>
              <a:ext uri="{FF2B5EF4-FFF2-40B4-BE49-F238E27FC236}">
                <a16:creationId xmlns:a16="http://schemas.microsoft.com/office/drawing/2014/main" id="{632A24FD-606D-4C0C-AF52-CE93D3C6B4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3454" y="837000"/>
            <a:ext cx="754761" cy="453390"/>
          </a:xfrm>
          <a:prstGeom prst="rect">
            <a:avLst/>
          </a:prstGeom>
        </p:spPr>
      </p:pic>
      <p:pic>
        <p:nvPicPr>
          <p:cNvPr id="110" name="Grafik 109">
            <a:extLst>
              <a:ext uri="{FF2B5EF4-FFF2-40B4-BE49-F238E27FC236}">
                <a16:creationId xmlns:a16="http://schemas.microsoft.com/office/drawing/2014/main" id="{1AA99258-E822-4783-806B-3941FF9038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125"/>
          <a:stretch/>
        </p:blipFill>
        <p:spPr>
          <a:xfrm>
            <a:off x="11619329" y="837000"/>
            <a:ext cx="572671" cy="453390"/>
          </a:xfrm>
          <a:prstGeom prst="rect">
            <a:avLst/>
          </a:prstGeom>
        </p:spPr>
      </p:pic>
      <p:pic>
        <p:nvPicPr>
          <p:cNvPr id="126" name="Grafik 125">
            <a:extLst>
              <a:ext uri="{FF2B5EF4-FFF2-40B4-BE49-F238E27FC236}">
                <a16:creationId xmlns:a16="http://schemas.microsoft.com/office/drawing/2014/main" id="{7514ADCB-F972-44C4-A72C-A7AB57C0C1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627" y="1547348"/>
            <a:ext cx="754761" cy="453390"/>
          </a:xfrm>
          <a:prstGeom prst="rect">
            <a:avLst/>
          </a:prstGeom>
        </p:spPr>
      </p:pic>
      <p:pic>
        <p:nvPicPr>
          <p:cNvPr id="127" name="Grafik 126">
            <a:extLst>
              <a:ext uri="{FF2B5EF4-FFF2-40B4-BE49-F238E27FC236}">
                <a16:creationId xmlns:a16="http://schemas.microsoft.com/office/drawing/2014/main" id="{31182B10-77D6-4081-B49E-117F2343CA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8146" y="1547348"/>
            <a:ext cx="754761" cy="453390"/>
          </a:xfrm>
          <a:prstGeom prst="rect">
            <a:avLst/>
          </a:prstGeom>
        </p:spPr>
      </p:pic>
      <p:pic>
        <p:nvPicPr>
          <p:cNvPr id="128" name="Grafik 127">
            <a:extLst>
              <a:ext uri="{FF2B5EF4-FFF2-40B4-BE49-F238E27FC236}">
                <a16:creationId xmlns:a16="http://schemas.microsoft.com/office/drawing/2014/main" id="{AEA1810B-1202-48E6-AFCA-FF89CCA0D3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5475" y="1547348"/>
            <a:ext cx="754761" cy="453390"/>
          </a:xfrm>
          <a:prstGeom prst="rect">
            <a:avLst/>
          </a:prstGeom>
        </p:spPr>
      </p:pic>
      <p:pic>
        <p:nvPicPr>
          <p:cNvPr id="129" name="Grafik 128">
            <a:extLst>
              <a:ext uri="{FF2B5EF4-FFF2-40B4-BE49-F238E27FC236}">
                <a16:creationId xmlns:a16="http://schemas.microsoft.com/office/drawing/2014/main" id="{EB6DD53F-EAC3-4A2D-BA36-FE60DFBB35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3994" y="1547348"/>
            <a:ext cx="754761" cy="453390"/>
          </a:xfrm>
          <a:prstGeom prst="rect">
            <a:avLst/>
          </a:prstGeom>
        </p:spPr>
      </p:pic>
      <p:pic>
        <p:nvPicPr>
          <p:cNvPr id="130" name="Grafik 129">
            <a:extLst>
              <a:ext uri="{FF2B5EF4-FFF2-40B4-BE49-F238E27FC236}">
                <a16:creationId xmlns:a16="http://schemas.microsoft.com/office/drawing/2014/main" id="{5ED931B0-5D97-4B70-AB6E-07826D1542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9145" y="1547348"/>
            <a:ext cx="754761" cy="453390"/>
          </a:xfrm>
          <a:prstGeom prst="rect">
            <a:avLst/>
          </a:prstGeom>
        </p:spPr>
      </p:pic>
      <p:pic>
        <p:nvPicPr>
          <p:cNvPr id="131" name="Grafik 130">
            <a:extLst>
              <a:ext uri="{FF2B5EF4-FFF2-40B4-BE49-F238E27FC236}">
                <a16:creationId xmlns:a16="http://schemas.microsoft.com/office/drawing/2014/main" id="{74B162A6-8A32-4A30-81BD-A57B2D71C9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6474" y="1547348"/>
            <a:ext cx="754761" cy="453390"/>
          </a:xfrm>
          <a:prstGeom prst="rect">
            <a:avLst/>
          </a:prstGeom>
        </p:spPr>
      </p:pic>
      <p:pic>
        <p:nvPicPr>
          <p:cNvPr id="132" name="Grafik 131">
            <a:extLst>
              <a:ext uri="{FF2B5EF4-FFF2-40B4-BE49-F238E27FC236}">
                <a16:creationId xmlns:a16="http://schemas.microsoft.com/office/drawing/2014/main" id="{54BD3C9C-F30C-4EFE-9D06-2722B56FFA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4993" y="1547348"/>
            <a:ext cx="754761" cy="453390"/>
          </a:xfrm>
          <a:prstGeom prst="rect">
            <a:avLst/>
          </a:prstGeom>
        </p:spPr>
      </p:pic>
      <p:pic>
        <p:nvPicPr>
          <p:cNvPr id="133" name="Grafik 132">
            <a:extLst>
              <a:ext uri="{FF2B5EF4-FFF2-40B4-BE49-F238E27FC236}">
                <a16:creationId xmlns:a16="http://schemas.microsoft.com/office/drawing/2014/main" id="{917C79E2-F847-42CA-9925-10354876ED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682"/>
          <a:stretch/>
        </p:blipFill>
        <p:spPr>
          <a:xfrm>
            <a:off x="0" y="2179177"/>
            <a:ext cx="492995" cy="453390"/>
          </a:xfrm>
          <a:prstGeom prst="rect">
            <a:avLst/>
          </a:prstGeom>
        </p:spPr>
      </p:pic>
      <p:pic>
        <p:nvPicPr>
          <p:cNvPr id="134" name="Grafik 133">
            <a:extLst>
              <a:ext uri="{FF2B5EF4-FFF2-40B4-BE49-F238E27FC236}">
                <a16:creationId xmlns:a16="http://schemas.microsoft.com/office/drawing/2014/main" id="{F3FF4588-206B-4AEA-8202-5F18127524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753" y="2179177"/>
            <a:ext cx="754761" cy="453390"/>
          </a:xfrm>
          <a:prstGeom prst="rect">
            <a:avLst/>
          </a:prstGeom>
        </p:spPr>
      </p:pic>
      <p:pic>
        <p:nvPicPr>
          <p:cNvPr id="135" name="Grafik 134">
            <a:extLst>
              <a:ext uri="{FF2B5EF4-FFF2-40B4-BE49-F238E27FC236}">
                <a16:creationId xmlns:a16="http://schemas.microsoft.com/office/drawing/2014/main" id="{C06FD971-A55A-437D-A72E-6ABCD7C43D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4082" y="2179177"/>
            <a:ext cx="754761" cy="453390"/>
          </a:xfrm>
          <a:prstGeom prst="rect">
            <a:avLst/>
          </a:prstGeom>
        </p:spPr>
      </p:pic>
      <p:pic>
        <p:nvPicPr>
          <p:cNvPr id="136" name="Grafik 135">
            <a:extLst>
              <a:ext uri="{FF2B5EF4-FFF2-40B4-BE49-F238E27FC236}">
                <a16:creationId xmlns:a16="http://schemas.microsoft.com/office/drawing/2014/main" id="{F1B5E36B-2310-415B-BC6A-2854D87021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601" y="2179177"/>
            <a:ext cx="754761" cy="453390"/>
          </a:xfrm>
          <a:prstGeom prst="rect">
            <a:avLst/>
          </a:prstGeom>
        </p:spPr>
      </p:pic>
      <p:pic>
        <p:nvPicPr>
          <p:cNvPr id="137" name="Grafik 136">
            <a:extLst>
              <a:ext uri="{FF2B5EF4-FFF2-40B4-BE49-F238E27FC236}">
                <a16:creationId xmlns:a16="http://schemas.microsoft.com/office/drawing/2014/main" id="{F424691A-D175-44D4-9D15-5FB53885D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7752" y="2179177"/>
            <a:ext cx="754761" cy="453390"/>
          </a:xfrm>
          <a:prstGeom prst="rect">
            <a:avLst/>
          </a:prstGeom>
        </p:spPr>
      </p:pic>
      <p:pic>
        <p:nvPicPr>
          <p:cNvPr id="138" name="Grafik 137">
            <a:extLst>
              <a:ext uri="{FF2B5EF4-FFF2-40B4-BE49-F238E27FC236}">
                <a16:creationId xmlns:a16="http://schemas.microsoft.com/office/drawing/2014/main" id="{B676DA96-1FBB-4DFE-AD52-BBA485D9DE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5081" y="2179177"/>
            <a:ext cx="754761" cy="453390"/>
          </a:xfrm>
          <a:prstGeom prst="rect">
            <a:avLst/>
          </a:prstGeom>
        </p:spPr>
      </p:pic>
      <p:pic>
        <p:nvPicPr>
          <p:cNvPr id="139" name="Grafik 138">
            <a:extLst>
              <a:ext uri="{FF2B5EF4-FFF2-40B4-BE49-F238E27FC236}">
                <a16:creationId xmlns:a16="http://schemas.microsoft.com/office/drawing/2014/main" id="{81E02231-5E4A-4FFF-B033-F1CC9B7819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3600" y="2190958"/>
            <a:ext cx="754761" cy="453390"/>
          </a:xfrm>
          <a:prstGeom prst="rect">
            <a:avLst/>
          </a:prstGeom>
        </p:spPr>
      </p:pic>
      <p:pic>
        <p:nvPicPr>
          <p:cNvPr id="140" name="Grafik 139">
            <a:extLst>
              <a:ext uri="{FF2B5EF4-FFF2-40B4-BE49-F238E27FC236}">
                <a16:creationId xmlns:a16="http://schemas.microsoft.com/office/drawing/2014/main" id="{B47CB3DC-1CD2-4EA4-9D13-F1EE1D0E63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20"/>
          <a:stretch/>
        </p:blipFill>
        <p:spPr>
          <a:xfrm>
            <a:off x="11649475" y="2190958"/>
            <a:ext cx="542525" cy="453390"/>
          </a:xfrm>
          <a:prstGeom prst="rect">
            <a:avLst/>
          </a:prstGeom>
        </p:spPr>
      </p:pic>
      <p:pic>
        <p:nvPicPr>
          <p:cNvPr id="171" name="Grafik 170">
            <a:extLst>
              <a:ext uri="{FF2B5EF4-FFF2-40B4-BE49-F238E27FC236}">
                <a16:creationId xmlns:a16="http://schemas.microsoft.com/office/drawing/2014/main" id="{2E4014E9-FA60-4F18-8F4E-39FC0BE89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393" y="2910248"/>
            <a:ext cx="754761" cy="453390"/>
          </a:xfrm>
          <a:prstGeom prst="rect">
            <a:avLst/>
          </a:prstGeom>
        </p:spPr>
      </p:pic>
      <p:pic>
        <p:nvPicPr>
          <p:cNvPr id="172" name="Grafik 171">
            <a:extLst>
              <a:ext uri="{FF2B5EF4-FFF2-40B4-BE49-F238E27FC236}">
                <a16:creationId xmlns:a16="http://schemas.microsoft.com/office/drawing/2014/main" id="{8122DC38-7FF0-4D5E-B8B5-2F1D1C0C9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9912" y="2910248"/>
            <a:ext cx="754761" cy="453390"/>
          </a:xfrm>
          <a:prstGeom prst="rect">
            <a:avLst/>
          </a:prstGeom>
        </p:spPr>
      </p:pic>
      <p:pic>
        <p:nvPicPr>
          <p:cNvPr id="173" name="Grafik 172">
            <a:extLst>
              <a:ext uri="{FF2B5EF4-FFF2-40B4-BE49-F238E27FC236}">
                <a16:creationId xmlns:a16="http://schemas.microsoft.com/office/drawing/2014/main" id="{565B7F54-5F4C-4D4A-B1D9-2720673145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7241" y="2910248"/>
            <a:ext cx="754761" cy="453390"/>
          </a:xfrm>
          <a:prstGeom prst="rect">
            <a:avLst/>
          </a:prstGeom>
        </p:spPr>
      </p:pic>
      <p:pic>
        <p:nvPicPr>
          <p:cNvPr id="174" name="Grafik 173">
            <a:extLst>
              <a:ext uri="{FF2B5EF4-FFF2-40B4-BE49-F238E27FC236}">
                <a16:creationId xmlns:a16="http://schemas.microsoft.com/office/drawing/2014/main" id="{E5B3E4FA-531B-4699-8B8B-8C9E9DCB7D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5760" y="2910248"/>
            <a:ext cx="754761" cy="453390"/>
          </a:xfrm>
          <a:prstGeom prst="rect">
            <a:avLst/>
          </a:prstGeom>
        </p:spPr>
      </p:pic>
      <p:pic>
        <p:nvPicPr>
          <p:cNvPr id="175" name="Grafik 174">
            <a:extLst>
              <a:ext uri="{FF2B5EF4-FFF2-40B4-BE49-F238E27FC236}">
                <a16:creationId xmlns:a16="http://schemas.microsoft.com/office/drawing/2014/main" id="{0F46F374-3A5D-4188-99A7-7A04C102F5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911" y="2910248"/>
            <a:ext cx="754761" cy="453390"/>
          </a:xfrm>
          <a:prstGeom prst="rect">
            <a:avLst/>
          </a:prstGeom>
        </p:spPr>
      </p:pic>
      <p:pic>
        <p:nvPicPr>
          <p:cNvPr id="176" name="Grafik 175">
            <a:extLst>
              <a:ext uri="{FF2B5EF4-FFF2-40B4-BE49-F238E27FC236}">
                <a16:creationId xmlns:a16="http://schemas.microsoft.com/office/drawing/2014/main" id="{3827A847-09AF-44AB-B3C2-3F2806960A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8240" y="2910248"/>
            <a:ext cx="754761" cy="453390"/>
          </a:xfrm>
          <a:prstGeom prst="rect">
            <a:avLst/>
          </a:prstGeom>
        </p:spPr>
      </p:pic>
      <p:pic>
        <p:nvPicPr>
          <p:cNvPr id="177" name="Grafik 176">
            <a:extLst>
              <a:ext uri="{FF2B5EF4-FFF2-40B4-BE49-F238E27FC236}">
                <a16:creationId xmlns:a16="http://schemas.microsoft.com/office/drawing/2014/main" id="{F34668FC-538D-441C-86AB-015708C79C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6759" y="2910248"/>
            <a:ext cx="754761" cy="453390"/>
          </a:xfrm>
          <a:prstGeom prst="rect">
            <a:avLst/>
          </a:prstGeom>
        </p:spPr>
      </p:pic>
      <p:pic>
        <p:nvPicPr>
          <p:cNvPr id="178" name="Grafik 177">
            <a:extLst>
              <a:ext uri="{FF2B5EF4-FFF2-40B4-BE49-F238E27FC236}">
                <a16:creationId xmlns:a16="http://schemas.microsoft.com/office/drawing/2014/main" id="{34725D5C-B5BF-4FD0-995C-448221521A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98"/>
          <a:stretch/>
        </p:blipFill>
        <p:spPr>
          <a:xfrm>
            <a:off x="0" y="3542077"/>
            <a:ext cx="514761" cy="453390"/>
          </a:xfrm>
          <a:prstGeom prst="rect">
            <a:avLst/>
          </a:prstGeom>
        </p:spPr>
      </p:pic>
      <p:pic>
        <p:nvPicPr>
          <p:cNvPr id="179" name="Grafik 178">
            <a:extLst>
              <a:ext uri="{FF2B5EF4-FFF2-40B4-BE49-F238E27FC236}">
                <a16:creationId xmlns:a16="http://schemas.microsoft.com/office/drawing/2014/main" id="{11E6AA57-B039-4BE4-BAE6-5D53A30BB8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519" y="3542077"/>
            <a:ext cx="754761" cy="453390"/>
          </a:xfrm>
          <a:prstGeom prst="rect">
            <a:avLst/>
          </a:prstGeom>
        </p:spPr>
      </p:pic>
      <p:pic>
        <p:nvPicPr>
          <p:cNvPr id="180" name="Grafik 179">
            <a:extLst>
              <a:ext uri="{FF2B5EF4-FFF2-40B4-BE49-F238E27FC236}">
                <a16:creationId xmlns:a16="http://schemas.microsoft.com/office/drawing/2014/main" id="{173583B4-1EBD-4311-BF5D-CA5C465C14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5848" y="3542077"/>
            <a:ext cx="754761" cy="453390"/>
          </a:xfrm>
          <a:prstGeom prst="rect">
            <a:avLst/>
          </a:prstGeom>
        </p:spPr>
      </p:pic>
      <p:pic>
        <p:nvPicPr>
          <p:cNvPr id="181" name="Grafik 180">
            <a:extLst>
              <a:ext uri="{FF2B5EF4-FFF2-40B4-BE49-F238E27FC236}">
                <a16:creationId xmlns:a16="http://schemas.microsoft.com/office/drawing/2014/main" id="{EC4261D3-C278-4866-BC45-7D5A8D6724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4367" y="3542077"/>
            <a:ext cx="754761" cy="453390"/>
          </a:xfrm>
          <a:prstGeom prst="rect">
            <a:avLst/>
          </a:prstGeom>
        </p:spPr>
      </p:pic>
      <p:pic>
        <p:nvPicPr>
          <p:cNvPr id="182" name="Grafik 181">
            <a:extLst>
              <a:ext uri="{FF2B5EF4-FFF2-40B4-BE49-F238E27FC236}">
                <a16:creationId xmlns:a16="http://schemas.microsoft.com/office/drawing/2014/main" id="{CA054150-E43B-4BF4-BB2D-613B36F9FE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9518" y="3542077"/>
            <a:ext cx="754761" cy="453390"/>
          </a:xfrm>
          <a:prstGeom prst="rect">
            <a:avLst/>
          </a:prstGeom>
        </p:spPr>
      </p:pic>
      <p:pic>
        <p:nvPicPr>
          <p:cNvPr id="183" name="Grafik 182">
            <a:extLst>
              <a:ext uri="{FF2B5EF4-FFF2-40B4-BE49-F238E27FC236}">
                <a16:creationId xmlns:a16="http://schemas.microsoft.com/office/drawing/2014/main" id="{A251DC13-C6B6-4DF1-A864-5DA5BBFF41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6847" y="3542077"/>
            <a:ext cx="754761" cy="453390"/>
          </a:xfrm>
          <a:prstGeom prst="rect">
            <a:avLst/>
          </a:prstGeom>
        </p:spPr>
      </p:pic>
      <p:pic>
        <p:nvPicPr>
          <p:cNvPr id="184" name="Grafik 183">
            <a:extLst>
              <a:ext uri="{FF2B5EF4-FFF2-40B4-BE49-F238E27FC236}">
                <a16:creationId xmlns:a16="http://schemas.microsoft.com/office/drawing/2014/main" id="{40E203E6-0517-418B-ACB8-433B006C44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366" y="3553858"/>
            <a:ext cx="754761" cy="453390"/>
          </a:xfrm>
          <a:prstGeom prst="rect">
            <a:avLst/>
          </a:prstGeom>
        </p:spPr>
      </p:pic>
      <p:pic>
        <p:nvPicPr>
          <p:cNvPr id="185" name="Grafik 184">
            <a:extLst>
              <a:ext uri="{FF2B5EF4-FFF2-40B4-BE49-F238E27FC236}">
                <a16:creationId xmlns:a16="http://schemas.microsoft.com/office/drawing/2014/main" id="{9FAA4A0D-A204-4C68-AF4F-8898615CDF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003"/>
          <a:stretch/>
        </p:blipFill>
        <p:spPr>
          <a:xfrm>
            <a:off x="11671241" y="3553858"/>
            <a:ext cx="520759" cy="453390"/>
          </a:xfrm>
          <a:prstGeom prst="rect">
            <a:avLst/>
          </a:prstGeom>
        </p:spPr>
      </p:pic>
      <p:pic>
        <p:nvPicPr>
          <p:cNvPr id="186" name="Grafik 185">
            <a:extLst>
              <a:ext uri="{FF2B5EF4-FFF2-40B4-BE49-F238E27FC236}">
                <a16:creationId xmlns:a16="http://schemas.microsoft.com/office/drawing/2014/main" id="{ED63B832-C323-447F-9C69-49751BCBA7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539" y="4264206"/>
            <a:ext cx="754761" cy="453390"/>
          </a:xfrm>
          <a:prstGeom prst="rect">
            <a:avLst/>
          </a:prstGeom>
        </p:spPr>
      </p:pic>
      <p:pic>
        <p:nvPicPr>
          <p:cNvPr id="187" name="Grafik 186">
            <a:extLst>
              <a:ext uri="{FF2B5EF4-FFF2-40B4-BE49-F238E27FC236}">
                <a16:creationId xmlns:a16="http://schemas.microsoft.com/office/drawing/2014/main" id="{AB64366D-566A-4888-8C20-709E9C783B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0058" y="4264206"/>
            <a:ext cx="754761" cy="453390"/>
          </a:xfrm>
          <a:prstGeom prst="rect">
            <a:avLst/>
          </a:prstGeom>
        </p:spPr>
      </p:pic>
      <p:pic>
        <p:nvPicPr>
          <p:cNvPr id="188" name="Grafik 187">
            <a:extLst>
              <a:ext uri="{FF2B5EF4-FFF2-40B4-BE49-F238E27FC236}">
                <a16:creationId xmlns:a16="http://schemas.microsoft.com/office/drawing/2014/main" id="{1E5F34B6-EDCA-4AC6-888E-569873FEB4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7387" y="4264206"/>
            <a:ext cx="754761" cy="453390"/>
          </a:xfrm>
          <a:prstGeom prst="rect">
            <a:avLst/>
          </a:prstGeom>
        </p:spPr>
      </p:pic>
      <p:pic>
        <p:nvPicPr>
          <p:cNvPr id="189" name="Grafik 188">
            <a:extLst>
              <a:ext uri="{FF2B5EF4-FFF2-40B4-BE49-F238E27FC236}">
                <a16:creationId xmlns:a16="http://schemas.microsoft.com/office/drawing/2014/main" id="{94944B71-C3AC-4644-9E48-0DB788A2C9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5906" y="4264206"/>
            <a:ext cx="754761" cy="453390"/>
          </a:xfrm>
          <a:prstGeom prst="rect">
            <a:avLst/>
          </a:prstGeom>
        </p:spPr>
      </p:pic>
      <p:pic>
        <p:nvPicPr>
          <p:cNvPr id="190" name="Grafik 189">
            <a:extLst>
              <a:ext uri="{FF2B5EF4-FFF2-40B4-BE49-F238E27FC236}">
                <a16:creationId xmlns:a16="http://schemas.microsoft.com/office/drawing/2014/main" id="{A1B8BD64-91C1-4E18-AFB0-FA364260BF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1057" y="4264206"/>
            <a:ext cx="754761" cy="453390"/>
          </a:xfrm>
          <a:prstGeom prst="rect">
            <a:avLst/>
          </a:prstGeom>
        </p:spPr>
      </p:pic>
      <p:pic>
        <p:nvPicPr>
          <p:cNvPr id="191" name="Grafik 190">
            <a:extLst>
              <a:ext uri="{FF2B5EF4-FFF2-40B4-BE49-F238E27FC236}">
                <a16:creationId xmlns:a16="http://schemas.microsoft.com/office/drawing/2014/main" id="{1F2CD2C7-D3E0-48FF-B196-C2EFA35FD2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8386" y="4264206"/>
            <a:ext cx="754761" cy="453390"/>
          </a:xfrm>
          <a:prstGeom prst="rect">
            <a:avLst/>
          </a:prstGeom>
        </p:spPr>
      </p:pic>
      <p:pic>
        <p:nvPicPr>
          <p:cNvPr id="192" name="Grafik 191">
            <a:extLst>
              <a:ext uri="{FF2B5EF4-FFF2-40B4-BE49-F238E27FC236}">
                <a16:creationId xmlns:a16="http://schemas.microsoft.com/office/drawing/2014/main" id="{BD7E45DD-FB92-4D37-9D7A-61D9C7A590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6905" y="4264206"/>
            <a:ext cx="754761" cy="453390"/>
          </a:xfrm>
          <a:prstGeom prst="rect">
            <a:avLst/>
          </a:prstGeom>
        </p:spPr>
      </p:pic>
      <p:pic>
        <p:nvPicPr>
          <p:cNvPr id="193" name="Grafik 192">
            <a:extLst>
              <a:ext uri="{FF2B5EF4-FFF2-40B4-BE49-F238E27FC236}">
                <a16:creationId xmlns:a16="http://schemas.microsoft.com/office/drawing/2014/main" id="{C2A4093A-7E6B-4A47-92FA-A9878961B6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04"/>
          <a:stretch/>
        </p:blipFill>
        <p:spPr>
          <a:xfrm>
            <a:off x="0" y="4896035"/>
            <a:ext cx="544907" cy="453390"/>
          </a:xfrm>
          <a:prstGeom prst="rect">
            <a:avLst/>
          </a:prstGeom>
        </p:spPr>
      </p:pic>
      <p:pic>
        <p:nvPicPr>
          <p:cNvPr id="194" name="Grafik 193">
            <a:extLst>
              <a:ext uri="{FF2B5EF4-FFF2-40B4-BE49-F238E27FC236}">
                <a16:creationId xmlns:a16="http://schemas.microsoft.com/office/drawing/2014/main" id="{AB41E5FF-ABB9-4B53-A460-194578C945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8665" y="4896035"/>
            <a:ext cx="754761" cy="453390"/>
          </a:xfrm>
          <a:prstGeom prst="rect">
            <a:avLst/>
          </a:prstGeom>
        </p:spPr>
      </p:pic>
      <p:pic>
        <p:nvPicPr>
          <p:cNvPr id="195" name="Grafik 194">
            <a:extLst>
              <a:ext uri="{FF2B5EF4-FFF2-40B4-BE49-F238E27FC236}">
                <a16:creationId xmlns:a16="http://schemas.microsoft.com/office/drawing/2014/main" id="{E307E013-EBE5-44D1-920F-DD633622A1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5994" y="4896035"/>
            <a:ext cx="754761" cy="453390"/>
          </a:xfrm>
          <a:prstGeom prst="rect">
            <a:avLst/>
          </a:prstGeom>
        </p:spPr>
      </p:pic>
      <p:pic>
        <p:nvPicPr>
          <p:cNvPr id="196" name="Grafik 195">
            <a:extLst>
              <a:ext uri="{FF2B5EF4-FFF2-40B4-BE49-F238E27FC236}">
                <a16:creationId xmlns:a16="http://schemas.microsoft.com/office/drawing/2014/main" id="{548160B3-6CDD-4B97-8753-AE2244507C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513" y="4896035"/>
            <a:ext cx="754761" cy="453390"/>
          </a:xfrm>
          <a:prstGeom prst="rect">
            <a:avLst/>
          </a:prstGeom>
        </p:spPr>
      </p:pic>
      <p:pic>
        <p:nvPicPr>
          <p:cNvPr id="197" name="Grafik 196">
            <a:extLst>
              <a:ext uri="{FF2B5EF4-FFF2-40B4-BE49-F238E27FC236}">
                <a16:creationId xmlns:a16="http://schemas.microsoft.com/office/drawing/2014/main" id="{4428EDBE-8F05-4E6E-AEB4-D8B934836D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9664" y="4896035"/>
            <a:ext cx="754761" cy="453390"/>
          </a:xfrm>
          <a:prstGeom prst="rect">
            <a:avLst/>
          </a:prstGeom>
        </p:spPr>
      </p:pic>
      <p:pic>
        <p:nvPicPr>
          <p:cNvPr id="198" name="Grafik 197">
            <a:extLst>
              <a:ext uri="{FF2B5EF4-FFF2-40B4-BE49-F238E27FC236}">
                <a16:creationId xmlns:a16="http://schemas.microsoft.com/office/drawing/2014/main" id="{E8A7C09D-ECD5-4868-A695-17AFAB0485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6993" y="4896035"/>
            <a:ext cx="754761" cy="453390"/>
          </a:xfrm>
          <a:prstGeom prst="rect">
            <a:avLst/>
          </a:prstGeom>
        </p:spPr>
      </p:pic>
      <p:pic>
        <p:nvPicPr>
          <p:cNvPr id="199" name="Grafik 198">
            <a:extLst>
              <a:ext uri="{FF2B5EF4-FFF2-40B4-BE49-F238E27FC236}">
                <a16:creationId xmlns:a16="http://schemas.microsoft.com/office/drawing/2014/main" id="{9A544AC9-D39D-4916-84B4-BFEA5EBD3A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5512" y="4907816"/>
            <a:ext cx="754761" cy="453390"/>
          </a:xfrm>
          <a:prstGeom prst="rect">
            <a:avLst/>
          </a:prstGeom>
        </p:spPr>
      </p:pic>
      <p:pic>
        <p:nvPicPr>
          <p:cNvPr id="200" name="Grafik 199">
            <a:extLst>
              <a:ext uri="{FF2B5EF4-FFF2-40B4-BE49-F238E27FC236}">
                <a16:creationId xmlns:a16="http://schemas.microsoft.com/office/drawing/2014/main" id="{1CBBA766-9672-43DF-94FB-9F4CDACD7A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997"/>
          <a:stretch/>
        </p:blipFill>
        <p:spPr>
          <a:xfrm>
            <a:off x="11701387" y="4907816"/>
            <a:ext cx="490613" cy="453390"/>
          </a:xfrm>
          <a:prstGeom prst="rect">
            <a:avLst/>
          </a:prstGeom>
        </p:spPr>
      </p:pic>
      <p:pic>
        <p:nvPicPr>
          <p:cNvPr id="216" name="Grafik 215">
            <a:extLst>
              <a:ext uri="{FF2B5EF4-FFF2-40B4-BE49-F238E27FC236}">
                <a16:creationId xmlns:a16="http://schemas.microsoft.com/office/drawing/2014/main" id="{95DBA18C-D63F-4008-8497-EF66DF00D6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6" y="5651111"/>
            <a:ext cx="754761" cy="453390"/>
          </a:xfrm>
          <a:prstGeom prst="rect">
            <a:avLst/>
          </a:prstGeom>
        </p:spPr>
      </p:pic>
      <p:pic>
        <p:nvPicPr>
          <p:cNvPr id="217" name="Grafik 216">
            <a:extLst>
              <a:ext uri="{FF2B5EF4-FFF2-40B4-BE49-F238E27FC236}">
                <a16:creationId xmlns:a16="http://schemas.microsoft.com/office/drawing/2014/main" id="{DDED51CE-0E09-4C94-90DE-53D9678BC3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3865" y="5651111"/>
            <a:ext cx="754761" cy="453390"/>
          </a:xfrm>
          <a:prstGeom prst="rect">
            <a:avLst/>
          </a:prstGeom>
        </p:spPr>
      </p:pic>
      <p:pic>
        <p:nvPicPr>
          <p:cNvPr id="218" name="Grafik 217">
            <a:extLst>
              <a:ext uri="{FF2B5EF4-FFF2-40B4-BE49-F238E27FC236}">
                <a16:creationId xmlns:a16="http://schemas.microsoft.com/office/drawing/2014/main" id="{42D47917-023F-4151-89E0-D37E2CF139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1194" y="5651111"/>
            <a:ext cx="754761" cy="453390"/>
          </a:xfrm>
          <a:prstGeom prst="rect">
            <a:avLst/>
          </a:prstGeom>
        </p:spPr>
      </p:pic>
      <p:pic>
        <p:nvPicPr>
          <p:cNvPr id="219" name="Grafik 218">
            <a:extLst>
              <a:ext uri="{FF2B5EF4-FFF2-40B4-BE49-F238E27FC236}">
                <a16:creationId xmlns:a16="http://schemas.microsoft.com/office/drawing/2014/main" id="{213817F8-B033-4E27-A092-69C1D1942E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9713" y="5651111"/>
            <a:ext cx="754761" cy="453390"/>
          </a:xfrm>
          <a:prstGeom prst="rect">
            <a:avLst/>
          </a:prstGeom>
        </p:spPr>
      </p:pic>
      <p:pic>
        <p:nvPicPr>
          <p:cNvPr id="220" name="Grafik 219">
            <a:extLst>
              <a:ext uri="{FF2B5EF4-FFF2-40B4-BE49-F238E27FC236}">
                <a16:creationId xmlns:a16="http://schemas.microsoft.com/office/drawing/2014/main" id="{8DA93B79-D81F-40FC-8CAF-D3FAECF97A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4864" y="5651111"/>
            <a:ext cx="754761" cy="453390"/>
          </a:xfrm>
          <a:prstGeom prst="rect">
            <a:avLst/>
          </a:prstGeom>
        </p:spPr>
      </p:pic>
      <p:pic>
        <p:nvPicPr>
          <p:cNvPr id="221" name="Grafik 220">
            <a:extLst>
              <a:ext uri="{FF2B5EF4-FFF2-40B4-BE49-F238E27FC236}">
                <a16:creationId xmlns:a16="http://schemas.microsoft.com/office/drawing/2014/main" id="{E0551AA1-4F17-42CF-9E46-5BBDFD582C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2193" y="5651111"/>
            <a:ext cx="754761" cy="453390"/>
          </a:xfrm>
          <a:prstGeom prst="rect">
            <a:avLst/>
          </a:prstGeom>
        </p:spPr>
      </p:pic>
      <p:pic>
        <p:nvPicPr>
          <p:cNvPr id="222" name="Grafik 221">
            <a:extLst>
              <a:ext uri="{FF2B5EF4-FFF2-40B4-BE49-F238E27FC236}">
                <a16:creationId xmlns:a16="http://schemas.microsoft.com/office/drawing/2014/main" id="{A6E10887-6198-4F05-814B-77934B4FFE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0712" y="5651111"/>
            <a:ext cx="754761" cy="453390"/>
          </a:xfrm>
          <a:prstGeom prst="rect">
            <a:avLst/>
          </a:prstGeom>
        </p:spPr>
      </p:pic>
      <p:pic>
        <p:nvPicPr>
          <p:cNvPr id="223" name="Grafik 222">
            <a:extLst>
              <a:ext uri="{FF2B5EF4-FFF2-40B4-BE49-F238E27FC236}">
                <a16:creationId xmlns:a16="http://schemas.microsoft.com/office/drawing/2014/main" id="{043D62CD-76DE-45F9-A3C3-16CEB0F210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49"/>
          <a:stretch/>
        </p:blipFill>
        <p:spPr>
          <a:xfrm>
            <a:off x="0" y="6282940"/>
            <a:ext cx="488714" cy="453390"/>
          </a:xfrm>
          <a:prstGeom prst="rect">
            <a:avLst/>
          </a:prstGeom>
        </p:spPr>
      </p:pic>
      <p:pic>
        <p:nvPicPr>
          <p:cNvPr id="224" name="Grafik 223">
            <a:extLst>
              <a:ext uri="{FF2B5EF4-FFF2-40B4-BE49-F238E27FC236}">
                <a16:creationId xmlns:a16="http://schemas.microsoft.com/office/drawing/2014/main" id="{FA8C8506-7EA6-4CC9-8C2D-4835DACA1D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2472" y="6282940"/>
            <a:ext cx="754761" cy="453390"/>
          </a:xfrm>
          <a:prstGeom prst="rect">
            <a:avLst/>
          </a:prstGeom>
        </p:spPr>
      </p:pic>
      <p:pic>
        <p:nvPicPr>
          <p:cNvPr id="225" name="Grafik 224">
            <a:extLst>
              <a:ext uri="{FF2B5EF4-FFF2-40B4-BE49-F238E27FC236}">
                <a16:creationId xmlns:a16="http://schemas.microsoft.com/office/drawing/2014/main" id="{D629E43A-DBC2-47A0-B4B9-B52A7C4F5F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9801" y="6282940"/>
            <a:ext cx="754761" cy="453390"/>
          </a:xfrm>
          <a:prstGeom prst="rect">
            <a:avLst/>
          </a:prstGeom>
        </p:spPr>
      </p:pic>
      <p:pic>
        <p:nvPicPr>
          <p:cNvPr id="226" name="Grafik 225">
            <a:extLst>
              <a:ext uri="{FF2B5EF4-FFF2-40B4-BE49-F238E27FC236}">
                <a16:creationId xmlns:a16="http://schemas.microsoft.com/office/drawing/2014/main" id="{7FD5CB93-4425-43D4-8CD9-0B28A41603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8320" y="6282940"/>
            <a:ext cx="754761" cy="453390"/>
          </a:xfrm>
          <a:prstGeom prst="rect">
            <a:avLst/>
          </a:prstGeom>
        </p:spPr>
      </p:pic>
      <p:pic>
        <p:nvPicPr>
          <p:cNvPr id="227" name="Grafik 226">
            <a:extLst>
              <a:ext uri="{FF2B5EF4-FFF2-40B4-BE49-F238E27FC236}">
                <a16:creationId xmlns:a16="http://schemas.microsoft.com/office/drawing/2014/main" id="{A8D65951-3895-4C23-BE05-C7F8017AB1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3471" y="6282940"/>
            <a:ext cx="754761" cy="453390"/>
          </a:xfrm>
          <a:prstGeom prst="rect">
            <a:avLst/>
          </a:prstGeom>
        </p:spPr>
      </p:pic>
      <p:pic>
        <p:nvPicPr>
          <p:cNvPr id="228" name="Grafik 227">
            <a:extLst>
              <a:ext uri="{FF2B5EF4-FFF2-40B4-BE49-F238E27FC236}">
                <a16:creationId xmlns:a16="http://schemas.microsoft.com/office/drawing/2014/main" id="{A601E589-3774-456F-89B3-BBA99FDA5A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0800" y="6282940"/>
            <a:ext cx="754761" cy="453390"/>
          </a:xfrm>
          <a:prstGeom prst="rect">
            <a:avLst/>
          </a:prstGeom>
        </p:spPr>
      </p:pic>
      <p:pic>
        <p:nvPicPr>
          <p:cNvPr id="229" name="Grafik 228">
            <a:extLst>
              <a:ext uri="{FF2B5EF4-FFF2-40B4-BE49-F238E27FC236}">
                <a16:creationId xmlns:a16="http://schemas.microsoft.com/office/drawing/2014/main" id="{1FB2A92E-7121-490E-A0ED-DAC3D272D9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9319" y="6294721"/>
            <a:ext cx="754761" cy="453390"/>
          </a:xfrm>
          <a:prstGeom prst="rect">
            <a:avLst/>
          </a:prstGeom>
        </p:spPr>
      </p:pic>
      <p:pic>
        <p:nvPicPr>
          <p:cNvPr id="230" name="Grafik 229">
            <a:extLst>
              <a:ext uri="{FF2B5EF4-FFF2-40B4-BE49-F238E27FC236}">
                <a16:creationId xmlns:a16="http://schemas.microsoft.com/office/drawing/2014/main" id="{FFF7BCB7-48DD-4C3F-9DDD-1A85A2B892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552"/>
          <a:stretch/>
        </p:blipFill>
        <p:spPr>
          <a:xfrm>
            <a:off x="11645195" y="6294721"/>
            <a:ext cx="546806" cy="453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2405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folie grau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8B1DD3D2-7F03-4D6B-B2FA-4C75E53C33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999" y="189000"/>
            <a:ext cx="719153" cy="4320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01CF3E95-B03A-477F-A32A-B1F1F02978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8999" y="189000"/>
            <a:ext cx="719153" cy="4320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0AF2D5E2-B919-41BF-B2AC-7399946754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6847" y="189000"/>
            <a:ext cx="719153" cy="432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4C28A4A7-90D3-41BF-BCAD-A326F99E60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4847" y="189000"/>
            <a:ext cx="719153" cy="432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67C50B34-F2E1-406A-A28E-E97ED52948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8999" y="189000"/>
            <a:ext cx="719153" cy="432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BAFCA06-E09F-40CE-A25D-AF87B9AE09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6999" y="189000"/>
            <a:ext cx="719153" cy="432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AD204C3-FD33-4D2E-A2D1-2FA0C10C80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4847" y="189000"/>
            <a:ext cx="719153" cy="432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FA35C389-3FC8-4EDB-929D-26D92A7678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6999" y="836999"/>
            <a:ext cx="719153" cy="43200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A430BD67-7C24-4D1F-A18D-6D1451FBAB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4999" y="836999"/>
            <a:ext cx="719153" cy="432001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5A1C658-F167-4174-B971-696A73851D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2847" y="836999"/>
            <a:ext cx="719153" cy="432001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2B28EF33-B681-4896-A26B-EC73B225E2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0847" y="836999"/>
            <a:ext cx="719153" cy="432001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1248D207-6E6A-4921-9DEC-EF1302C6A0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4999" y="836999"/>
            <a:ext cx="719153" cy="43200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E3B4BE61-4E14-42A1-94EF-E33EADEF38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2999" y="836999"/>
            <a:ext cx="719153" cy="432001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D53BADA3-8D64-4D04-A219-B11B3A810A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361"/>
          <a:stretch/>
        </p:blipFill>
        <p:spPr>
          <a:xfrm>
            <a:off x="11640847" y="836999"/>
            <a:ext cx="551153" cy="43200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EA7DF34A-C6BE-4722-AC93-479C1BE80B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>
          <a:xfrm>
            <a:off x="0" y="836999"/>
            <a:ext cx="359576" cy="432001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B29D6F41-BCE4-4A6B-8CA9-C1DEAA26F6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089" y="1557000"/>
            <a:ext cx="719153" cy="432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77DA13FE-46FE-44B5-9762-B34206501A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3089" y="1557000"/>
            <a:ext cx="719153" cy="432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E8F79DCC-B734-4CAE-99DE-3C29A5172A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937" y="1557000"/>
            <a:ext cx="719153" cy="432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46F91080-8C24-4C9E-BDF0-C26DAC548E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8937" y="1557000"/>
            <a:ext cx="719153" cy="432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2DE6AF4E-E0B6-46D3-A1EB-C8414CFD5B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3089" y="1557000"/>
            <a:ext cx="719153" cy="432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C6785374-9DDE-40BB-8D9C-83BA9AB425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1089" y="1557000"/>
            <a:ext cx="719153" cy="4320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6BC7CBAF-6B08-4201-815C-0C9753A0B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8937" y="1557000"/>
            <a:ext cx="719153" cy="4320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542E3271-1736-43F5-91BE-811C78E296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1089" y="2204999"/>
            <a:ext cx="719153" cy="432001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31DA08E1-AC31-477C-8158-A407125506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9089" y="2204999"/>
            <a:ext cx="719153" cy="432001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E633E903-EC46-4007-8A40-F7B0DD2CA6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6937" y="2204999"/>
            <a:ext cx="719153" cy="432001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3B4B570F-35A1-417F-9E97-0A62D5D40E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4937" y="2204999"/>
            <a:ext cx="719153" cy="432001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3D13E103-0461-4733-8869-FC5123F2BA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9089" y="2204999"/>
            <a:ext cx="719153" cy="432001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9653BE01-D5F0-4575-8706-5B9D029DE9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7089" y="2204999"/>
            <a:ext cx="719153" cy="432001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AEFE9EAC-C01B-47CD-A95E-244EBA8D80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320"/>
          <a:stretch/>
        </p:blipFill>
        <p:spPr>
          <a:xfrm>
            <a:off x="11654937" y="2204999"/>
            <a:ext cx="537063" cy="432001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D4D84810-7535-4D8E-8B89-95E8B149D2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041"/>
          <a:stretch/>
        </p:blipFill>
        <p:spPr>
          <a:xfrm>
            <a:off x="0" y="2204999"/>
            <a:ext cx="373666" cy="432001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55D4D9CB-BE0D-4F26-AA2D-B79CCD9870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062" y="2924999"/>
            <a:ext cx="719153" cy="432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68C04B34-64B6-4D17-A74B-E3242CF38D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5062" y="2924999"/>
            <a:ext cx="719153" cy="432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196FB3A6-CAA3-4E12-AFA8-5CFDBDC6A2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910" y="2924999"/>
            <a:ext cx="719153" cy="4320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2DAAE6FE-253A-4BA0-AF59-B55FB07745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0910" y="2924999"/>
            <a:ext cx="719153" cy="4320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4E1B9EB6-832B-4FDA-8B65-E5F1474AA9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062" y="2924999"/>
            <a:ext cx="719153" cy="4320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3DC913BA-9017-45F6-A314-0254DF790B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3062" y="2924999"/>
            <a:ext cx="719153" cy="4320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3C8EC882-8AF1-4DF5-A330-2487008FE9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0910" y="2924999"/>
            <a:ext cx="719153" cy="4320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9AB1FA63-BC34-4919-959B-4106927D4A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062" y="3572998"/>
            <a:ext cx="719153" cy="432001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0D5B0C75-C84E-45B5-8373-CCDC103A9A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062" y="3572998"/>
            <a:ext cx="719153" cy="432001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F9695C32-424D-4539-86ED-D4337F6AD9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8910" y="3572998"/>
            <a:ext cx="719153" cy="432001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D6865B42-0D42-4117-85BE-90AD0A6366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6910" y="3572998"/>
            <a:ext cx="719153" cy="432001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1E8B23B8-6DDF-4213-B622-507E41D2B0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1062" y="3572998"/>
            <a:ext cx="719153" cy="432001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1E26FC41-D5EB-4712-B496-2C38DE56BF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9062" y="3572998"/>
            <a:ext cx="719153" cy="432001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95D1210C-01A0-49D3-B49C-36CB0F9D84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375"/>
          <a:stretch/>
        </p:blipFill>
        <p:spPr>
          <a:xfrm>
            <a:off x="11676911" y="3572998"/>
            <a:ext cx="515090" cy="432001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AA6C553F-B3EA-43DB-8D44-9841D67350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85"/>
          <a:stretch/>
        </p:blipFill>
        <p:spPr>
          <a:xfrm>
            <a:off x="0" y="3572998"/>
            <a:ext cx="395639" cy="432001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id="{E11C06EF-F797-4B65-A522-ED47FB6890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152" y="4292999"/>
            <a:ext cx="719153" cy="432000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id="{0717165D-6119-4743-B2B5-9298E80976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152" y="4292999"/>
            <a:ext cx="719153" cy="432000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C6C13744-77CE-4CB1-9091-7C6142F8F5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7000" y="4292999"/>
            <a:ext cx="719153" cy="432000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D85861B4-D32A-467A-88D3-CE2A551FF8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000" y="4292999"/>
            <a:ext cx="719153" cy="432000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7F74CDAF-D3B3-46B7-AD35-E2F374C264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9152" y="4292999"/>
            <a:ext cx="719153" cy="432000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7D70151A-C5CF-41EA-8A16-8019882929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7152" y="4292999"/>
            <a:ext cx="719153" cy="432000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6ED1A004-1B30-4A7E-AB41-F63FDC8963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000" y="4292999"/>
            <a:ext cx="719153" cy="432000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550BD9A5-29AB-45D8-B1B1-63AD5F2442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7152" y="4940998"/>
            <a:ext cx="719153" cy="432001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0121A367-F918-4DBF-987E-0F3C7CBCB0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5152" y="4940998"/>
            <a:ext cx="719153" cy="432001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82838BEE-7DAC-458C-9ECC-F0C3909FF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3000" y="4940998"/>
            <a:ext cx="719153" cy="432001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84F7FB8D-0DD4-4E6A-8AD6-08A65EF343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000" y="4940998"/>
            <a:ext cx="719153" cy="432001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94052E9E-FEB9-43B2-B379-E9AFC6E212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152" y="4940998"/>
            <a:ext cx="719153" cy="432001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F6E05B06-A154-4EBC-B01B-AA3B12D7E2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3152" y="4940998"/>
            <a:ext cx="719153" cy="432001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6911D3B4-847A-41C9-97D6-76CB5A0BF2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0334"/>
          <a:stretch/>
        </p:blipFill>
        <p:spPr>
          <a:xfrm>
            <a:off x="11691001" y="4940998"/>
            <a:ext cx="501000" cy="432001"/>
          </a:xfrm>
          <a:prstGeom prst="rect">
            <a:avLst/>
          </a:prstGeom>
        </p:spPr>
      </p:pic>
      <p:pic>
        <p:nvPicPr>
          <p:cNvPr id="63" name="Grafik 62">
            <a:extLst>
              <a:ext uri="{FF2B5EF4-FFF2-40B4-BE49-F238E27FC236}">
                <a16:creationId xmlns:a16="http://schemas.microsoft.com/office/drawing/2014/main" id="{3C4994B4-B333-4D8C-924F-194C1A56F7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026"/>
          <a:stretch/>
        </p:blipFill>
        <p:spPr>
          <a:xfrm>
            <a:off x="0" y="4940998"/>
            <a:ext cx="409729" cy="432001"/>
          </a:xfrm>
          <a:prstGeom prst="rect">
            <a:avLst/>
          </a:prstGeom>
        </p:spPr>
      </p:pic>
      <p:pic>
        <p:nvPicPr>
          <p:cNvPr id="64" name="Grafik 63">
            <a:extLst>
              <a:ext uri="{FF2B5EF4-FFF2-40B4-BE49-F238E27FC236}">
                <a16:creationId xmlns:a16="http://schemas.microsoft.com/office/drawing/2014/main" id="{8BB1FBB1-60FA-44B4-9D7C-E4AD7D90ED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062" y="5663170"/>
            <a:ext cx="719153" cy="432000"/>
          </a:xfrm>
          <a:prstGeom prst="rect">
            <a:avLst/>
          </a:prstGeom>
        </p:spPr>
      </p:pic>
      <p:pic>
        <p:nvPicPr>
          <p:cNvPr id="65" name="Grafik 64">
            <a:extLst>
              <a:ext uri="{FF2B5EF4-FFF2-40B4-BE49-F238E27FC236}">
                <a16:creationId xmlns:a16="http://schemas.microsoft.com/office/drawing/2014/main" id="{80C28856-D388-42B8-B558-1927A85E21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5062" y="5663170"/>
            <a:ext cx="719153" cy="432000"/>
          </a:xfrm>
          <a:prstGeom prst="rect">
            <a:avLst/>
          </a:prstGeom>
        </p:spPr>
      </p:pic>
      <p:pic>
        <p:nvPicPr>
          <p:cNvPr id="66" name="Grafik 65">
            <a:extLst>
              <a:ext uri="{FF2B5EF4-FFF2-40B4-BE49-F238E27FC236}">
                <a16:creationId xmlns:a16="http://schemas.microsoft.com/office/drawing/2014/main" id="{C140CE08-F67F-49B6-98F2-7D7A6B632C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910" y="5663170"/>
            <a:ext cx="719153" cy="432000"/>
          </a:xfrm>
          <a:prstGeom prst="rect">
            <a:avLst/>
          </a:prstGeom>
        </p:spPr>
      </p:pic>
      <p:pic>
        <p:nvPicPr>
          <p:cNvPr id="67" name="Grafik 66">
            <a:extLst>
              <a:ext uri="{FF2B5EF4-FFF2-40B4-BE49-F238E27FC236}">
                <a16:creationId xmlns:a16="http://schemas.microsoft.com/office/drawing/2014/main" id="{2AE07D1A-CCE3-452D-B9BF-1DCA301815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0910" y="5663170"/>
            <a:ext cx="719153" cy="432000"/>
          </a:xfrm>
          <a:prstGeom prst="rect">
            <a:avLst/>
          </a:prstGeom>
        </p:spPr>
      </p:pic>
      <p:pic>
        <p:nvPicPr>
          <p:cNvPr id="68" name="Grafik 67">
            <a:extLst>
              <a:ext uri="{FF2B5EF4-FFF2-40B4-BE49-F238E27FC236}">
                <a16:creationId xmlns:a16="http://schemas.microsoft.com/office/drawing/2014/main" id="{DD5C731C-5241-4170-AD64-9EA15A879E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062" y="5663170"/>
            <a:ext cx="719153" cy="432000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AA1CB95E-476C-459F-9D05-CCE0E3755E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3062" y="5663170"/>
            <a:ext cx="719153" cy="432000"/>
          </a:xfrm>
          <a:prstGeom prst="rect">
            <a:avLst/>
          </a:prstGeom>
        </p:spPr>
      </p:pic>
      <p:pic>
        <p:nvPicPr>
          <p:cNvPr id="70" name="Grafik 69">
            <a:extLst>
              <a:ext uri="{FF2B5EF4-FFF2-40B4-BE49-F238E27FC236}">
                <a16:creationId xmlns:a16="http://schemas.microsoft.com/office/drawing/2014/main" id="{CED6EA5C-F5F3-4C86-B900-3360A81D89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0910" y="5663170"/>
            <a:ext cx="719153" cy="432000"/>
          </a:xfrm>
          <a:prstGeom prst="rect">
            <a:avLst/>
          </a:prstGeom>
        </p:spPr>
      </p:pic>
      <p:pic>
        <p:nvPicPr>
          <p:cNvPr id="71" name="Grafik 70">
            <a:extLst>
              <a:ext uri="{FF2B5EF4-FFF2-40B4-BE49-F238E27FC236}">
                <a16:creationId xmlns:a16="http://schemas.microsoft.com/office/drawing/2014/main" id="{3659DD32-2985-4851-AB03-F231406EE8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062" y="6311169"/>
            <a:ext cx="719153" cy="432001"/>
          </a:xfrm>
          <a:prstGeom prst="rect">
            <a:avLst/>
          </a:prstGeom>
        </p:spPr>
      </p:pic>
      <p:pic>
        <p:nvPicPr>
          <p:cNvPr id="72" name="Grafik 71">
            <a:extLst>
              <a:ext uri="{FF2B5EF4-FFF2-40B4-BE49-F238E27FC236}">
                <a16:creationId xmlns:a16="http://schemas.microsoft.com/office/drawing/2014/main" id="{1A412CA0-C7EE-4D05-96AD-4F2173E750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062" y="6311169"/>
            <a:ext cx="719153" cy="432001"/>
          </a:xfrm>
          <a:prstGeom prst="rect">
            <a:avLst/>
          </a:prstGeom>
        </p:spPr>
      </p:pic>
      <p:pic>
        <p:nvPicPr>
          <p:cNvPr id="73" name="Grafik 72">
            <a:extLst>
              <a:ext uri="{FF2B5EF4-FFF2-40B4-BE49-F238E27FC236}">
                <a16:creationId xmlns:a16="http://schemas.microsoft.com/office/drawing/2014/main" id="{BE4CDFA0-4BD3-40B3-BA92-5BA8D3E840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8910" y="6311169"/>
            <a:ext cx="719153" cy="432001"/>
          </a:xfrm>
          <a:prstGeom prst="rect">
            <a:avLst/>
          </a:prstGeom>
        </p:spPr>
      </p:pic>
      <p:pic>
        <p:nvPicPr>
          <p:cNvPr id="74" name="Grafik 73">
            <a:extLst>
              <a:ext uri="{FF2B5EF4-FFF2-40B4-BE49-F238E27FC236}">
                <a16:creationId xmlns:a16="http://schemas.microsoft.com/office/drawing/2014/main" id="{01D66C0A-8518-4501-9239-E683425A7D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6910" y="6311169"/>
            <a:ext cx="719153" cy="432001"/>
          </a:xfrm>
          <a:prstGeom prst="rect">
            <a:avLst/>
          </a:prstGeom>
        </p:spPr>
      </p:pic>
      <p:pic>
        <p:nvPicPr>
          <p:cNvPr id="75" name="Grafik 74">
            <a:extLst>
              <a:ext uri="{FF2B5EF4-FFF2-40B4-BE49-F238E27FC236}">
                <a16:creationId xmlns:a16="http://schemas.microsoft.com/office/drawing/2014/main" id="{B8E69320-0C29-45D0-B1EA-8D88086119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1062" y="6311169"/>
            <a:ext cx="719153" cy="432001"/>
          </a:xfrm>
          <a:prstGeom prst="rect">
            <a:avLst/>
          </a:prstGeom>
        </p:spPr>
      </p:pic>
      <p:pic>
        <p:nvPicPr>
          <p:cNvPr id="76" name="Grafik 75">
            <a:extLst>
              <a:ext uri="{FF2B5EF4-FFF2-40B4-BE49-F238E27FC236}">
                <a16:creationId xmlns:a16="http://schemas.microsoft.com/office/drawing/2014/main" id="{EB5AFBE0-4AC9-4F8B-B910-3321DB5983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9062" y="6311169"/>
            <a:ext cx="719153" cy="432001"/>
          </a:xfrm>
          <a:prstGeom prst="rect">
            <a:avLst/>
          </a:prstGeom>
        </p:spPr>
      </p:pic>
      <p:pic>
        <p:nvPicPr>
          <p:cNvPr id="77" name="Grafik 76">
            <a:extLst>
              <a:ext uri="{FF2B5EF4-FFF2-40B4-BE49-F238E27FC236}">
                <a16:creationId xmlns:a16="http://schemas.microsoft.com/office/drawing/2014/main" id="{C31DFCDD-0BE6-4258-BFDB-AC2B7B9561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375"/>
          <a:stretch/>
        </p:blipFill>
        <p:spPr>
          <a:xfrm>
            <a:off x="11676911" y="6311169"/>
            <a:ext cx="515090" cy="432001"/>
          </a:xfrm>
          <a:prstGeom prst="rect">
            <a:avLst/>
          </a:prstGeom>
        </p:spPr>
      </p:pic>
      <p:pic>
        <p:nvPicPr>
          <p:cNvPr id="78" name="Grafik 77">
            <a:extLst>
              <a:ext uri="{FF2B5EF4-FFF2-40B4-BE49-F238E27FC236}">
                <a16:creationId xmlns:a16="http://schemas.microsoft.com/office/drawing/2014/main" id="{F0531226-3E0C-4C14-9E77-299F5C5B3A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85"/>
          <a:stretch/>
        </p:blipFill>
        <p:spPr>
          <a:xfrm>
            <a:off x="0" y="6311169"/>
            <a:ext cx="395639" cy="432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7602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72299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47" imgH="348" progId="TCLayout.ActiveDocument.1">
                  <p:embed/>
                </p:oleObj>
              </mc:Choice>
              <mc:Fallback>
                <p:oleObj name="think-cell Folie" r:id="rId12" imgW="347" imgH="34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915F7E3-965E-4AF8-B5AE-A055425253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000" y="180000"/>
            <a:ext cx="11808000" cy="7181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Überschrif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0000" y="1080000"/>
            <a:ext cx="118080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0490D21-E225-4808-A302-ABA11D9E6C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88000" y="6480000"/>
            <a:ext cx="900000" cy="36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21.11.2023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0A8FC13-E0FA-40E3-8352-7A88FA1DBD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0000" y="6480000"/>
            <a:ext cx="10260000" cy="36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IHK/OHK-Workshop zur Energiewende in Deutschland und Tschechi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A1B32B2-9A22-49E1-BDF5-53450C31D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0000" y="6480000"/>
            <a:ext cx="432000" cy="36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7A7ED917-9624-4009-AF03-A08CE5788EE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50A3BD86-8606-49B8-BC20-CC12654CF265}"/>
              </a:ext>
            </a:extLst>
          </p:cNvPr>
          <p:cNvSpPr txBox="1"/>
          <p:nvPr userDrawn="1"/>
        </p:nvSpPr>
        <p:spPr>
          <a:xfrm>
            <a:off x="230692" y="-1323528"/>
            <a:ext cx="2267744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100" b="1"/>
              <a:t>Primärfarbe </a:t>
            </a:r>
          </a:p>
          <a:p>
            <a:r>
              <a:rPr lang="de-DE" sz="1100" b="1"/>
              <a:t>MIBRAG-Grün:</a:t>
            </a:r>
          </a:p>
          <a:p>
            <a:r>
              <a:rPr lang="de-DE" sz="1100"/>
              <a:t>100%	RGB 122 / 181 / 29</a:t>
            </a:r>
          </a:p>
          <a:p>
            <a:r>
              <a:rPr lang="de-DE" sz="1100"/>
              <a:t>80%: 	RGB 149 / 196 / 74</a:t>
            </a:r>
          </a:p>
          <a:p>
            <a:r>
              <a:rPr lang="de-DE" sz="1100"/>
              <a:t>60%	RGB 175 / 211 / 119</a:t>
            </a:r>
          </a:p>
          <a:p>
            <a:r>
              <a:rPr lang="de-DE" sz="1100"/>
              <a:t>40%:	RGB 202 / 225 / 165</a:t>
            </a:r>
          </a:p>
          <a:p>
            <a:r>
              <a:rPr lang="de-DE" sz="1100"/>
              <a:t>20%:	RGB 228 / 240 / 210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0301B70-9FFE-4EB6-9091-9A40A2F3E54C}"/>
              </a:ext>
            </a:extLst>
          </p:cNvPr>
          <p:cNvSpPr/>
          <p:nvPr userDrawn="1"/>
        </p:nvSpPr>
        <p:spPr>
          <a:xfrm>
            <a:off x="14668" y="-963488"/>
            <a:ext cx="144016" cy="144016"/>
          </a:xfrm>
          <a:prstGeom prst="rect">
            <a:avLst/>
          </a:prstGeom>
          <a:solidFill>
            <a:srgbClr val="7AB5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E337C52-61F0-4ACC-B707-F36B8DCB4743}"/>
              </a:ext>
            </a:extLst>
          </p:cNvPr>
          <p:cNvSpPr/>
          <p:nvPr userDrawn="1"/>
        </p:nvSpPr>
        <p:spPr>
          <a:xfrm>
            <a:off x="14668" y="-792169"/>
            <a:ext cx="144016" cy="144016"/>
          </a:xfrm>
          <a:prstGeom prst="rect">
            <a:avLst/>
          </a:prstGeom>
          <a:solidFill>
            <a:srgbClr val="95C4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C17449F-3BBF-44D7-BB23-6D8809DAFB39}"/>
              </a:ext>
            </a:extLst>
          </p:cNvPr>
          <p:cNvSpPr/>
          <p:nvPr userDrawn="1"/>
        </p:nvSpPr>
        <p:spPr>
          <a:xfrm>
            <a:off x="14668" y="-620850"/>
            <a:ext cx="144016" cy="144016"/>
          </a:xfrm>
          <a:prstGeom prst="rect">
            <a:avLst/>
          </a:prstGeom>
          <a:solidFill>
            <a:srgbClr val="AFD3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41FBAEE-FE60-4E26-A94B-E05592C2220B}"/>
              </a:ext>
            </a:extLst>
          </p:cNvPr>
          <p:cNvSpPr/>
          <p:nvPr userDrawn="1"/>
        </p:nvSpPr>
        <p:spPr>
          <a:xfrm>
            <a:off x="14668" y="-453980"/>
            <a:ext cx="144016" cy="144016"/>
          </a:xfrm>
          <a:prstGeom prst="rect">
            <a:avLst/>
          </a:prstGeom>
          <a:solidFill>
            <a:srgbClr val="CAE1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5BED3D31-9F82-4AD7-9C1F-F5869B68B852}"/>
              </a:ext>
            </a:extLst>
          </p:cNvPr>
          <p:cNvSpPr/>
          <p:nvPr userDrawn="1"/>
        </p:nvSpPr>
        <p:spPr>
          <a:xfrm>
            <a:off x="14668" y="-282661"/>
            <a:ext cx="144016" cy="144016"/>
          </a:xfrm>
          <a:prstGeom prst="rect">
            <a:avLst/>
          </a:prstGeom>
          <a:solidFill>
            <a:srgbClr val="E4F0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C3BE5AA7-779B-4675-9D67-7F6D2B4955C6}"/>
              </a:ext>
            </a:extLst>
          </p:cNvPr>
          <p:cNvSpPr txBox="1"/>
          <p:nvPr userDrawn="1"/>
        </p:nvSpPr>
        <p:spPr>
          <a:xfrm>
            <a:off x="2915816" y="-1333356"/>
            <a:ext cx="2267744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100" b="1"/>
              <a:t>Sekundärfarbe </a:t>
            </a:r>
          </a:p>
          <a:p>
            <a:r>
              <a:rPr lang="de-DE" sz="1100" b="1"/>
              <a:t>MIBRAG-Blau</a:t>
            </a:r>
          </a:p>
          <a:p>
            <a:r>
              <a:rPr lang="de-DE" sz="1100" b="0"/>
              <a:t>100%	RGB 0 / 167 / 220</a:t>
            </a:r>
          </a:p>
          <a:p>
            <a:r>
              <a:rPr lang="de-DE" sz="1100" b="0"/>
              <a:t>80%	RGB 51 / 185 / 227</a:t>
            </a:r>
          </a:p>
          <a:p>
            <a:r>
              <a:rPr lang="de-DE" sz="1100" b="0"/>
              <a:t>60%	RGB 102 / 202 / 234</a:t>
            </a:r>
          </a:p>
          <a:p>
            <a:r>
              <a:rPr lang="de-DE" sz="1100" b="0"/>
              <a:t>40%	RGB 153 / 220 / 241</a:t>
            </a:r>
          </a:p>
          <a:p>
            <a:r>
              <a:rPr lang="de-DE" sz="1100" b="0"/>
              <a:t>20%:	RGB 204 / 237 / 248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42B8BAC3-7145-4468-B5FB-F497B6AC25BC}"/>
              </a:ext>
            </a:extLst>
          </p:cNvPr>
          <p:cNvSpPr/>
          <p:nvPr userDrawn="1"/>
        </p:nvSpPr>
        <p:spPr>
          <a:xfrm>
            <a:off x="2699792" y="-973316"/>
            <a:ext cx="144016" cy="144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3A4E3B32-6844-428E-BC2F-C5B4A4606A9B}"/>
              </a:ext>
            </a:extLst>
          </p:cNvPr>
          <p:cNvSpPr/>
          <p:nvPr userDrawn="1"/>
        </p:nvSpPr>
        <p:spPr>
          <a:xfrm>
            <a:off x="2699792" y="-801997"/>
            <a:ext cx="144016" cy="144016"/>
          </a:xfrm>
          <a:prstGeom prst="rect">
            <a:avLst/>
          </a:prstGeom>
          <a:solidFill>
            <a:srgbClr val="33B9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BB050F00-F5CF-4CA6-8D05-7AC761B23181}"/>
              </a:ext>
            </a:extLst>
          </p:cNvPr>
          <p:cNvSpPr/>
          <p:nvPr userDrawn="1"/>
        </p:nvSpPr>
        <p:spPr>
          <a:xfrm>
            <a:off x="2699792" y="-630678"/>
            <a:ext cx="144016" cy="144016"/>
          </a:xfrm>
          <a:prstGeom prst="rect">
            <a:avLst/>
          </a:prstGeom>
          <a:solidFill>
            <a:srgbClr val="66C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F0AF97D5-78C1-4006-A0B4-073B620E8438}"/>
              </a:ext>
            </a:extLst>
          </p:cNvPr>
          <p:cNvSpPr/>
          <p:nvPr userDrawn="1"/>
        </p:nvSpPr>
        <p:spPr>
          <a:xfrm>
            <a:off x="2699792" y="-463808"/>
            <a:ext cx="144016" cy="144016"/>
          </a:xfrm>
          <a:prstGeom prst="rect">
            <a:avLst/>
          </a:prstGeom>
          <a:solidFill>
            <a:srgbClr val="99DC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02339CB0-BBF0-42EB-BF2C-ACACC76EC3A3}"/>
              </a:ext>
            </a:extLst>
          </p:cNvPr>
          <p:cNvSpPr/>
          <p:nvPr userDrawn="1"/>
        </p:nvSpPr>
        <p:spPr>
          <a:xfrm>
            <a:off x="2699792" y="-292489"/>
            <a:ext cx="144016" cy="144016"/>
          </a:xfrm>
          <a:prstGeom prst="rect">
            <a:avLst/>
          </a:prstGeom>
          <a:solidFill>
            <a:srgbClr val="CCED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FCC97D75-86A5-4C62-A3C0-102F5922DB36}"/>
              </a:ext>
            </a:extLst>
          </p:cNvPr>
          <p:cNvSpPr txBox="1"/>
          <p:nvPr userDrawn="1"/>
        </p:nvSpPr>
        <p:spPr>
          <a:xfrm>
            <a:off x="5600940" y="-1323528"/>
            <a:ext cx="2267744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100" b="1"/>
              <a:t>Akzentfarbe MIBRAG-Braun</a:t>
            </a:r>
          </a:p>
          <a:p>
            <a:r>
              <a:rPr lang="de-DE" sz="1100" b="0"/>
              <a:t>100%:	RGB 96 / 52 / 8</a:t>
            </a:r>
          </a:p>
          <a:p>
            <a:endParaRPr lang="de-DE" sz="1100" b="1"/>
          </a:p>
          <a:p>
            <a:r>
              <a:rPr lang="de-DE" sz="1100" b="1"/>
              <a:t>Technische Farben </a:t>
            </a:r>
          </a:p>
          <a:p>
            <a:r>
              <a:rPr lang="de-DE" sz="1100" b="0"/>
              <a:t>100%	RGB 227 / 0 / 11</a:t>
            </a:r>
          </a:p>
          <a:p>
            <a:r>
              <a:rPr lang="de-DE" sz="1100" b="0"/>
              <a:t>100%	RGB 255 / 96 / 0</a:t>
            </a:r>
          </a:p>
          <a:p>
            <a:r>
              <a:rPr lang="de-DE" sz="1100" b="0"/>
              <a:t>100%	RGB 250 / 175 / 0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0EF4430-139B-4514-A033-8787690A08B4}"/>
              </a:ext>
            </a:extLst>
          </p:cNvPr>
          <p:cNvSpPr/>
          <p:nvPr userDrawn="1"/>
        </p:nvSpPr>
        <p:spPr>
          <a:xfrm>
            <a:off x="5384916" y="-1122327"/>
            <a:ext cx="144016" cy="144016"/>
          </a:xfrm>
          <a:prstGeom prst="rect">
            <a:avLst/>
          </a:prstGeom>
          <a:solidFill>
            <a:srgbClr val="6034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6B181E2-FC2E-4DAC-A015-6DD3E5C5204A}"/>
              </a:ext>
            </a:extLst>
          </p:cNvPr>
          <p:cNvSpPr/>
          <p:nvPr userDrawn="1"/>
        </p:nvSpPr>
        <p:spPr>
          <a:xfrm>
            <a:off x="5384916" y="-620850"/>
            <a:ext cx="144016" cy="144016"/>
          </a:xfrm>
          <a:prstGeom prst="rect">
            <a:avLst/>
          </a:prstGeom>
          <a:solidFill>
            <a:srgbClr val="E3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DEDF502-527D-4B0E-8456-F253CF46BA78}"/>
              </a:ext>
            </a:extLst>
          </p:cNvPr>
          <p:cNvSpPr/>
          <p:nvPr userDrawn="1"/>
        </p:nvSpPr>
        <p:spPr>
          <a:xfrm>
            <a:off x="5384916" y="-453980"/>
            <a:ext cx="144016" cy="144016"/>
          </a:xfrm>
          <a:prstGeom prst="rect">
            <a:avLst/>
          </a:prstGeom>
          <a:solidFill>
            <a:srgbClr val="FF6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4A78401E-FD70-4C19-8BD4-C4C34065C8E2}"/>
              </a:ext>
            </a:extLst>
          </p:cNvPr>
          <p:cNvSpPr/>
          <p:nvPr userDrawn="1"/>
        </p:nvSpPr>
        <p:spPr>
          <a:xfrm>
            <a:off x="5384916" y="-282661"/>
            <a:ext cx="144016" cy="144016"/>
          </a:xfrm>
          <a:prstGeom prst="rect">
            <a:avLst/>
          </a:prstGeom>
          <a:solidFill>
            <a:srgbClr val="FA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D3A3A702-9B52-48D0-9586-1BD1762E7C37}"/>
              </a:ext>
            </a:extLst>
          </p:cNvPr>
          <p:cNvSpPr txBox="1"/>
          <p:nvPr userDrawn="1"/>
        </p:nvSpPr>
        <p:spPr>
          <a:xfrm>
            <a:off x="8286312" y="-1323528"/>
            <a:ext cx="2267744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100" b="1"/>
              <a:t>Technische Farben</a:t>
            </a:r>
          </a:p>
          <a:p>
            <a:r>
              <a:rPr lang="de-DE" sz="1100" b="1"/>
              <a:t>Grautöne</a:t>
            </a:r>
          </a:p>
          <a:p>
            <a:r>
              <a:rPr lang="de-DE" sz="1100" b="0"/>
              <a:t>100%	RGB 194 / 194 / 194</a:t>
            </a:r>
          </a:p>
          <a:p>
            <a:r>
              <a:rPr lang="de-DE" sz="1100" b="0"/>
              <a:t>100%	RGB 173 / 194 / 206</a:t>
            </a:r>
          </a:p>
          <a:p>
            <a:r>
              <a:rPr lang="de-DE" sz="1100" b="0"/>
              <a:t>100%	RGB 115 / 133 / 143</a:t>
            </a:r>
          </a:p>
          <a:p>
            <a:r>
              <a:rPr lang="de-DE" sz="1100" b="0"/>
              <a:t>100%	RGB 62 / 77 / 84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7BEC4390-0E92-4DB4-B995-230CA80AD8BB}"/>
              </a:ext>
            </a:extLst>
          </p:cNvPr>
          <p:cNvSpPr/>
          <p:nvPr userDrawn="1"/>
        </p:nvSpPr>
        <p:spPr>
          <a:xfrm>
            <a:off x="8070288" y="-963488"/>
            <a:ext cx="144016" cy="144016"/>
          </a:xfrm>
          <a:prstGeom prst="rect">
            <a:avLst/>
          </a:prstGeom>
          <a:solidFill>
            <a:srgbClr val="C2C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5B8CB8AE-D160-4D3F-A6C4-B719E904FC17}"/>
              </a:ext>
            </a:extLst>
          </p:cNvPr>
          <p:cNvSpPr/>
          <p:nvPr userDrawn="1"/>
        </p:nvSpPr>
        <p:spPr>
          <a:xfrm>
            <a:off x="8070288" y="-792169"/>
            <a:ext cx="144016" cy="144016"/>
          </a:xfrm>
          <a:prstGeom prst="rect">
            <a:avLst/>
          </a:prstGeom>
          <a:solidFill>
            <a:srgbClr val="ADC2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B7910D9-36DB-461D-9A4F-6F9950FFB24E}"/>
              </a:ext>
            </a:extLst>
          </p:cNvPr>
          <p:cNvSpPr/>
          <p:nvPr userDrawn="1"/>
        </p:nvSpPr>
        <p:spPr>
          <a:xfrm>
            <a:off x="8070288" y="-620850"/>
            <a:ext cx="144016" cy="144016"/>
          </a:xfrm>
          <a:prstGeom prst="rect">
            <a:avLst/>
          </a:prstGeom>
          <a:solidFill>
            <a:srgbClr val="7385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A9975B82-2CA4-40B0-A759-07C1E02940B8}"/>
              </a:ext>
            </a:extLst>
          </p:cNvPr>
          <p:cNvSpPr/>
          <p:nvPr userDrawn="1"/>
        </p:nvSpPr>
        <p:spPr>
          <a:xfrm>
            <a:off x="8070288" y="-453980"/>
            <a:ext cx="144016" cy="144016"/>
          </a:xfrm>
          <a:prstGeom prst="rect">
            <a:avLst/>
          </a:prstGeom>
          <a:solidFill>
            <a:srgbClr val="3E4D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7475D8F4-444D-4059-8B2E-DD5ECC12F269}"/>
              </a:ext>
            </a:extLst>
          </p:cNvPr>
          <p:cNvSpPr txBox="1"/>
          <p:nvPr userDrawn="1"/>
        </p:nvSpPr>
        <p:spPr>
          <a:xfrm>
            <a:off x="14420" y="-1634668"/>
            <a:ext cx="4989628" cy="1398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100" b="1"/>
              <a:t>Einfaches Anpassen der Farben mit der Pipette: unter Füllung bzw. Kontur</a:t>
            </a:r>
            <a:endParaRPr lang="de-DE" sz="1100"/>
          </a:p>
        </p:txBody>
      </p:sp>
    </p:spTree>
    <p:extLst>
      <p:ext uri="{BB962C8B-B14F-4D97-AF65-F5344CB8AC3E}">
        <p14:creationId xmlns:p14="http://schemas.microsoft.com/office/powerpoint/2010/main" val="3494287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8" r:id="rId2"/>
    <p:sldLayoutId id="2147483649" r:id="rId3"/>
    <p:sldLayoutId id="2147483650" r:id="rId4"/>
    <p:sldLayoutId id="2147483665" r:id="rId5"/>
    <p:sldLayoutId id="2147483667" r:id="rId6"/>
    <p:sldLayoutId id="2147483660" r:id="rId7"/>
    <p:sldLayoutId id="2147483663" r:id="rId8"/>
    <p:sldLayoutId id="2147483664" r:id="rId9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38.png"/><Relationship Id="rId18" Type="http://schemas.openxmlformats.org/officeDocument/2006/relationships/image" Target="../media/image43.svg"/><Relationship Id="rId3" Type="http://schemas.openxmlformats.org/officeDocument/2006/relationships/oleObject" Target="../embeddings/oleObject11.bin"/><Relationship Id="rId21" Type="http://schemas.openxmlformats.org/officeDocument/2006/relationships/image" Target="../media/image46.png"/><Relationship Id="rId7" Type="http://schemas.openxmlformats.org/officeDocument/2006/relationships/image" Target="../media/image32.png"/><Relationship Id="rId12" Type="http://schemas.openxmlformats.org/officeDocument/2006/relationships/image" Target="../media/image37.svg"/><Relationship Id="rId17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1.svg"/><Relationship Id="rId20" Type="http://schemas.openxmlformats.org/officeDocument/2006/relationships/image" Target="../media/image45.svg"/><Relationship Id="rId1" Type="http://schemas.openxmlformats.org/officeDocument/2006/relationships/tags" Target="../tags/tag36.xml"/><Relationship Id="rId6" Type="http://schemas.openxmlformats.org/officeDocument/2006/relationships/image" Target="../media/image31.svg"/><Relationship Id="rId11" Type="http://schemas.openxmlformats.org/officeDocument/2006/relationships/image" Target="../media/image36.png"/><Relationship Id="rId24" Type="http://schemas.openxmlformats.org/officeDocument/2006/relationships/image" Target="../media/image49.svg"/><Relationship Id="rId5" Type="http://schemas.openxmlformats.org/officeDocument/2006/relationships/image" Target="../media/image30.png"/><Relationship Id="rId15" Type="http://schemas.openxmlformats.org/officeDocument/2006/relationships/image" Target="../media/image40.png"/><Relationship Id="rId23" Type="http://schemas.openxmlformats.org/officeDocument/2006/relationships/image" Target="../media/image48.png"/><Relationship Id="rId10" Type="http://schemas.openxmlformats.org/officeDocument/2006/relationships/image" Target="../media/image35.svg"/><Relationship Id="rId19" Type="http://schemas.openxmlformats.org/officeDocument/2006/relationships/image" Target="../media/image44.png"/><Relationship Id="rId4" Type="http://schemas.openxmlformats.org/officeDocument/2006/relationships/image" Target="../media/image1.emf"/><Relationship Id="rId9" Type="http://schemas.openxmlformats.org/officeDocument/2006/relationships/image" Target="../media/image34.png"/><Relationship Id="rId14" Type="http://schemas.openxmlformats.org/officeDocument/2006/relationships/image" Target="../media/image39.svg"/><Relationship Id="rId22" Type="http://schemas.openxmlformats.org/officeDocument/2006/relationships/image" Target="../media/image47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13" Type="http://schemas.openxmlformats.org/officeDocument/2006/relationships/image" Target="../media/image42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44.png"/><Relationship Id="rId12" Type="http://schemas.openxmlformats.org/officeDocument/2006/relationships/image" Target="../media/image49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1.svg"/><Relationship Id="rId1" Type="http://schemas.openxmlformats.org/officeDocument/2006/relationships/tags" Target="../tags/tag37.xml"/><Relationship Id="rId6" Type="http://schemas.openxmlformats.org/officeDocument/2006/relationships/image" Target="../media/image39.svg"/><Relationship Id="rId11" Type="http://schemas.openxmlformats.org/officeDocument/2006/relationships/image" Target="../media/image48.png"/><Relationship Id="rId5" Type="http://schemas.openxmlformats.org/officeDocument/2006/relationships/image" Target="../media/image38.png"/><Relationship Id="rId15" Type="http://schemas.openxmlformats.org/officeDocument/2006/relationships/image" Target="../media/image40.png"/><Relationship Id="rId10" Type="http://schemas.openxmlformats.org/officeDocument/2006/relationships/image" Target="../media/image47.svg"/><Relationship Id="rId4" Type="http://schemas.openxmlformats.org/officeDocument/2006/relationships/image" Target="../media/image1.emf"/><Relationship Id="rId9" Type="http://schemas.openxmlformats.org/officeDocument/2006/relationships/image" Target="../media/image46.png"/><Relationship Id="rId14" Type="http://schemas.openxmlformats.org/officeDocument/2006/relationships/image" Target="../media/image43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45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6" Type="http://schemas.openxmlformats.org/officeDocument/2006/relationships/image" Target="../media/image44.png"/><Relationship Id="rId11" Type="http://schemas.openxmlformats.org/officeDocument/2006/relationships/image" Target="../media/image49.svg"/><Relationship Id="rId5" Type="http://schemas.openxmlformats.org/officeDocument/2006/relationships/image" Target="../media/image1.emf"/><Relationship Id="rId10" Type="http://schemas.openxmlformats.org/officeDocument/2006/relationships/image" Target="../media/image48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47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sv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10" Type="http://schemas.openxmlformats.org/officeDocument/2006/relationships/image" Target="../media/image49.svg"/><Relationship Id="rId4" Type="http://schemas.openxmlformats.org/officeDocument/2006/relationships/image" Target="../media/image1.emf"/><Relationship Id="rId9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5" Type="http://schemas.openxmlformats.org/officeDocument/2006/relationships/image" Target="../media/image50.jpg"/><Relationship Id="rId4" Type="http://schemas.openxmlformats.org/officeDocument/2006/relationships/image" Target="../media/image7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45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6" Type="http://schemas.openxmlformats.org/officeDocument/2006/relationships/image" Target="../media/image44.png"/><Relationship Id="rId11" Type="http://schemas.openxmlformats.org/officeDocument/2006/relationships/image" Target="../media/image49.svg"/><Relationship Id="rId5" Type="http://schemas.openxmlformats.org/officeDocument/2006/relationships/image" Target="../media/image51.png"/><Relationship Id="rId10" Type="http://schemas.openxmlformats.org/officeDocument/2006/relationships/image" Target="../media/image48.png"/><Relationship Id="rId4" Type="http://schemas.openxmlformats.org/officeDocument/2006/relationships/image" Target="../media/image1.emf"/><Relationship Id="rId9" Type="http://schemas.openxmlformats.org/officeDocument/2006/relationships/image" Target="../media/image47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7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3.svg"/><Relationship Id="rId12" Type="http://schemas.openxmlformats.org/officeDocument/2006/relationships/image" Target="../media/image56.png"/><Relationship Id="rId17" Type="http://schemas.openxmlformats.org/officeDocument/2006/relationships/image" Target="../media/image61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60.png"/><Relationship Id="rId1" Type="http://schemas.openxmlformats.org/officeDocument/2006/relationships/tags" Target="../tags/tag42.xml"/><Relationship Id="rId6" Type="http://schemas.openxmlformats.org/officeDocument/2006/relationships/image" Target="../media/image42.png"/><Relationship Id="rId11" Type="http://schemas.openxmlformats.org/officeDocument/2006/relationships/image" Target="../media/image55.svg"/><Relationship Id="rId5" Type="http://schemas.openxmlformats.org/officeDocument/2006/relationships/image" Target="../media/image1.emf"/><Relationship Id="rId15" Type="http://schemas.openxmlformats.org/officeDocument/2006/relationships/image" Target="../media/image59.svg"/><Relationship Id="rId10" Type="http://schemas.openxmlformats.org/officeDocument/2006/relationships/image" Target="../media/image54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53.svg"/><Relationship Id="rId14" Type="http://schemas.openxmlformats.org/officeDocument/2006/relationships/image" Target="../media/image5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jpeg"/><Relationship Id="rId13" Type="http://schemas.openxmlformats.org/officeDocument/2006/relationships/image" Target="../media/image66.jpeg"/><Relationship Id="rId3" Type="http://schemas.openxmlformats.org/officeDocument/2006/relationships/oleObject" Target="../embeddings/oleObject18.bin"/><Relationship Id="rId7" Type="http://schemas.openxmlformats.org/officeDocument/2006/relationships/image" Target="../media/image63.jpeg"/><Relationship Id="rId12" Type="http://schemas.openxmlformats.org/officeDocument/2006/relationships/image" Target="../media/image39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6" Type="http://schemas.microsoft.com/office/2007/relationships/hdphoto" Target="../media/hdphoto1.wdp"/><Relationship Id="rId11" Type="http://schemas.openxmlformats.org/officeDocument/2006/relationships/image" Target="../media/image38.png"/><Relationship Id="rId5" Type="http://schemas.openxmlformats.org/officeDocument/2006/relationships/image" Target="../media/image62.png"/><Relationship Id="rId10" Type="http://schemas.microsoft.com/office/2007/relationships/hdphoto" Target="../media/hdphoto2.wdp"/><Relationship Id="rId4" Type="http://schemas.openxmlformats.org/officeDocument/2006/relationships/image" Target="../media/image1.emf"/><Relationship Id="rId9" Type="http://schemas.openxmlformats.org/officeDocument/2006/relationships/image" Target="../media/image65.png"/><Relationship Id="rId14" Type="http://schemas.openxmlformats.org/officeDocument/2006/relationships/image" Target="../media/image67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68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5" Type="http://schemas.openxmlformats.org/officeDocument/2006/relationships/image" Target="../media/image69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5" Type="http://schemas.openxmlformats.org/officeDocument/2006/relationships/image" Target="../media/image70.jp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78.pn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73.png"/><Relationship Id="rId12" Type="http://schemas.openxmlformats.org/officeDocument/2006/relationships/image" Target="../media/image7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6" Type="http://schemas.openxmlformats.org/officeDocument/2006/relationships/image" Target="../media/image72.png"/><Relationship Id="rId11" Type="http://schemas.openxmlformats.org/officeDocument/2006/relationships/image" Target="../media/image76.png"/><Relationship Id="rId5" Type="http://schemas.openxmlformats.org/officeDocument/2006/relationships/image" Target="../media/image71.png"/><Relationship Id="rId15" Type="http://schemas.openxmlformats.org/officeDocument/2006/relationships/image" Target="../media/image80.png"/><Relationship Id="rId10" Type="http://schemas.openxmlformats.org/officeDocument/2006/relationships/image" Target="../media/image75.png"/><Relationship Id="rId4" Type="http://schemas.openxmlformats.org/officeDocument/2006/relationships/image" Target="../media/image1.emf"/><Relationship Id="rId9" Type="http://schemas.openxmlformats.org/officeDocument/2006/relationships/image" Target="../media/image74.png"/><Relationship Id="rId14" Type="http://schemas.openxmlformats.org/officeDocument/2006/relationships/image" Target="../media/image79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50.xml"/><Relationship Id="rId21" Type="http://schemas.openxmlformats.org/officeDocument/2006/relationships/chart" Target="../charts/chart3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17" Type="http://schemas.openxmlformats.org/officeDocument/2006/relationships/tags" Target="../tags/tag64.xml"/><Relationship Id="rId2" Type="http://schemas.openxmlformats.org/officeDocument/2006/relationships/tags" Target="../tags/tag49.xml"/><Relationship Id="rId16" Type="http://schemas.openxmlformats.org/officeDocument/2006/relationships/tags" Target="../tags/tag63.xml"/><Relationship Id="rId20" Type="http://schemas.openxmlformats.org/officeDocument/2006/relationships/image" Target="../media/image1.emf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5" Type="http://schemas.openxmlformats.org/officeDocument/2006/relationships/tags" Target="../tags/tag62.xml"/><Relationship Id="rId10" Type="http://schemas.openxmlformats.org/officeDocument/2006/relationships/tags" Target="../tags/tag57.xml"/><Relationship Id="rId19" Type="http://schemas.openxmlformats.org/officeDocument/2006/relationships/oleObject" Target="../embeddings/oleObject23.bin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tags" Target="../tags/tag61.xml"/><Relationship Id="rId22" Type="http://schemas.openxmlformats.org/officeDocument/2006/relationships/chart" Target="../charts/char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5.xml"/><Relationship Id="rId6" Type="http://schemas.openxmlformats.org/officeDocument/2006/relationships/image" Target="../media/image82.svg"/><Relationship Id="rId5" Type="http://schemas.openxmlformats.org/officeDocument/2006/relationships/image" Target="../media/image81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image" Target="../media/image1.emf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oleObject" Target="../embeddings/oleObject6.bin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notesSlide" Target="../notesSlides/notesSlide3.xml"/><Relationship Id="rId30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18.svg"/><Relationship Id="rId18" Type="http://schemas.openxmlformats.org/officeDocument/2006/relationships/image" Target="../media/image23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2.gif"/><Relationship Id="rId12" Type="http://schemas.openxmlformats.org/officeDocument/2006/relationships/image" Target="../media/image17.png"/><Relationship Id="rId17" Type="http://schemas.openxmlformats.org/officeDocument/2006/relationships/image" Target="../media/image2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1.jpeg"/><Relationship Id="rId1" Type="http://schemas.openxmlformats.org/officeDocument/2006/relationships/tags" Target="../tags/tag32.xml"/><Relationship Id="rId6" Type="http://schemas.openxmlformats.org/officeDocument/2006/relationships/image" Target="../media/image11.jpeg"/><Relationship Id="rId11" Type="http://schemas.openxmlformats.org/officeDocument/2006/relationships/image" Target="../media/image16.svg"/><Relationship Id="rId5" Type="http://schemas.openxmlformats.org/officeDocument/2006/relationships/image" Target="../media/image1.emf"/><Relationship Id="rId15" Type="http://schemas.openxmlformats.org/officeDocument/2006/relationships/image" Target="../media/image20.svg"/><Relationship Id="rId10" Type="http://schemas.openxmlformats.org/officeDocument/2006/relationships/image" Target="../media/image15.png"/><Relationship Id="rId19" Type="http://schemas.openxmlformats.org/officeDocument/2006/relationships/image" Target="../media/image24.jpe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4.jpeg"/><Relationship Id="rId1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29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6" Type="http://schemas.openxmlformats.org/officeDocument/2006/relationships/image" Target="../media/image28.png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391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FA1D057-1AD1-409A-95E3-AA15068579D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Einblicke in den MIBRAG-Transformationsprozess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EFD14E8-C69A-4963-B85E-3E1E506EE92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Sebastian Exner</a:t>
            </a:r>
          </a:p>
          <a:p>
            <a:r>
              <a:rPr lang="de-DE" dirty="0"/>
              <a:t>Leiter Kommunikation und Politik</a:t>
            </a:r>
          </a:p>
        </p:txBody>
      </p:sp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BE90556E-5C9A-4C46-97F6-F124F4D854C4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66" r="5076"/>
          <a:stretch/>
        </p:blipFill>
        <p:spPr>
          <a:xfrm>
            <a:off x="0" y="0"/>
            <a:ext cx="12192000" cy="4141740"/>
          </a:xfrm>
        </p:spPr>
      </p:pic>
      <p:sp>
        <p:nvSpPr>
          <p:cNvPr id="8" name="AutoShape 2" descr="https://euc-powerpoint.officeapps.live.com/pods/GetClipboardImage.ashx?Id=5a9e4cf8-194d-48ad-8008-98976fa37bdd&amp;DC=GEU6&amp;pkey=161133d2-70e3-4a1e-84a0-a9093abf6e25&amp;wdwaccluster=GEU6"/>
          <p:cNvSpPr>
            <a:spLocks noChangeAspect="1" noChangeArrowheads="1"/>
          </p:cNvSpPr>
          <p:nvPr/>
        </p:nvSpPr>
        <p:spPr bwMode="auto">
          <a:xfrm>
            <a:off x="21272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" name="AutoShape 4" descr="https://euc-powerpoint.officeapps.live.com/pods/GetClipboardImage.ashx?Id=5a9e4cf8-194d-48ad-8008-98976fa37bdd&amp;DC=GEU6&amp;pkey=161133d2-70e3-4a1e-84a0-a9093abf6e25&amp;wdwaccluster=GEU6"/>
          <p:cNvSpPr>
            <a:spLocks noChangeAspect="1" noChangeArrowheads="1"/>
          </p:cNvSpPr>
          <p:nvPr/>
        </p:nvSpPr>
        <p:spPr bwMode="auto">
          <a:xfrm>
            <a:off x="36512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983432" y="4374901"/>
            <a:ext cx="15116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21. November 2023</a:t>
            </a:r>
          </a:p>
        </p:txBody>
      </p:sp>
    </p:spTree>
    <p:extLst>
      <p:ext uri="{BB962C8B-B14F-4D97-AF65-F5344CB8AC3E}">
        <p14:creationId xmlns:p14="http://schemas.microsoft.com/office/powerpoint/2010/main" val="5687471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BE30A65-D532-7ADD-BF77-56FFC465BD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E30A65-D532-7ADD-BF77-56FFC465BD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BA317F5-7859-D2E0-7DAF-3192F91E06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IBRAG-Wachstumspfad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50DE203-5585-48AA-032F-A2A8EB7BF0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1.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7BDC21-192E-4393-AF1F-2AE09FA14F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7" name="Pfeil: Fünfeck 6">
            <a:extLst>
              <a:ext uri="{FF2B5EF4-FFF2-40B4-BE49-F238E27FC236}">
                <a16:creationId xmlns:a16="http://schemas.microsoft.com/office/drawing/2014/main" id="{ECA5BC2E-3F73-0489-12F8-72CDC566FB0F}"/>
              </a:ext>
            </a:extLst>
          </p:cNvPr>
          <p:cNvSpPr/>
          <p:nvPr/>
        </p:nvSpPr>
        <p:spPr>
          <a:xfrm>
            <a:off x="1071446" y="2031204"/>
            <a:ext cx="10016554" cy="388210"/>
          </a:xfrm>
          <a:prstGeom prst="homePlate">
            <a:avLst/>
          </a:prstGeom>
          <a:gradFill flip="none" rotWithShape="1">
            <a:gsLst>
              <a:gs pos="0">
                <a:srgbClr val="707F39"/>
              </a:gs>
              <a:gs pos="100000">
                <a:srgbClr val="3E4D54"/>
              </a:gs>
              <a:gs pos="0">
                <a:srgbClr val="6E7D14"/>
              </a:gs>
              <a:gs pos="0">
                <a:schemeClr val="accent1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EDA9BD39-C2AF-3A5D-F3AB-F2CA061842BA}"/>
              </a:ext>
            </a:extLst>
          </p:cNvPr>
          <p:cNvSpPr txBox="1"/>
          <p:nvPr/>
        </p:nvSpPr>
        <p:spPr>
          <a:xfrm>
            <a:off x="1038425" y="2528132"/>
            <a:ext cx="22322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/>
              <a:t>Reiner Kohleproduzent </a:t>
            </a:r>
          </a:p>
          <a:p>
            <a:pPr algn="ctr"/>
            <a:r>
              <a:rPr lang="de-DE" sz="1200"/>
              <a:t>im Grundlastbetrieb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4D5907D-2EC9-36AB-E0F6-CCDD50A02068}"/>
              </a:ext>
            </a:extLst>
          </p:cNvPr>
          <p:cNvSpPr txBox="1"/>
          <p:nvPr/>
        </p:nvSpPr>
        <p:spPr>
          <a:xfrm>
            <a:off x="1645611" y="2042133"/>
            <a:ext cx="864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>
                <a:solidFill>
                  <a:schemeClr val="bg1"/>
                </a:solidFill>
              </a:rPr>
              <a:t>1993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79586B4-C855-935F-95C9-209D50E49921}"/>
              </a:ext>
            </a:extLst>
          </p:cNvPr>
          <p:cNvSpPr txBox="1"/>
          <p:nvPr/>
        </p:nvSpPr>
        <p:spPr>
          <a:xfrm>
            <a:off x="4222117" y="2031204"/>
            <a:ext cx="864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>
                <a:solidFill>
                  <a:schemeClr val="bg1"/>
                </a:solidFill>
              </a:rPr>
              <a:t>2022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BAB264A-895B-AA23-80D0-08DE9AAF93F3}"/>
              </a:ext>
            </a:extLst>
          </p:cNvPr>
          <p:cNvSpPr txBox="1"/>
          <p:nvPr/>
        </p:nvSpPr>
        <p:spPr>
          <a:xfrm>
            <a:off x="3530306" y="2516120"/>
            <a:ext cx="22322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/>
              <a:t>Flexibler Kohleproduzent </a:t>
            </a:r>
            <a:r>
              <a:rPr lang="de-DE" sz="1200"/>
              <a:t>mit EE und H</a:t>
            </a:r>
            <a:r>
              <a:rPr lang="de-DE" sz="1200" baseline="-25000"/>
              <a:t>2</a:t>
            </a:r>
            <a:r>
              <a:rPr lang="de-DE" sz="1200"/>
              <a:t>-Perspektive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41BF7DC-EA1E-6225-2ACA-8CA5E9C2B179}"/>
              </a:ext>
            </a:extLst>
          </p:cNvPr>
          <p:cNvSpPr txBox="1"/>
          <p:nvPr/>
        </p:nvSpPr>
        <p:spPr>
          <a:xfrm>
            <a:off x="6134578" y="2531582"/>
            <a:ext cx="21147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/>
              <a:t>Energieunternehmen</a:t>
            </a:r>
          </a:p>
          <a:p>
            <a:pPr algn="ctr"/>
            <a:r>
              <a:rPr lang="de-DE" sz="1200"/>
              <a:t>mit </a:t>
            </a:r>
            <a:r>
              <a:rPr lang="de-DE" sz="1200" err="1"/>
              <a:t>Transitionspfad</a:t>
            </a:r>
            <a:r>
              <a:rPr lang="de-DE" sz="1200"/>
              <a:t> in vier neue Geschäftsfelder</a:t>
            </a:r>
          </a:p>
        </p:txBody>
      </p:sp>
      <p:sp>
        <p:nvSpPr>
          <p:cNvPr id="16" name="Trapezoid 15">
            <a:extLst>
              <a:ext uri="{FF2B5EF4-FFF2-40B4-BE49-F238E27FC236}">
                <a16:creationId xmlns:a16="http://schemas.microsoft.com/office/drawing/2014/main" id="{4559A053-B91C-7892-4461-EE5528AF3489}"/>
              </a:ext>
            </a:extLst>
          </p:cNvPr>
          <p:cNvSpPr/>
          <p:nvPr/>
        </p:nvSpPr>
        <p:spPr>
          <a:xfrm flipH="1">
            <a:off x="10023672" y="2547822"/>
            <a:ext cx="421137" cy="188008"/>
          </a:xfrm>
          <a:prstGeom prst="trapezoid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/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33868B2B-1025-C9E9-8E3B-527184B0FA93}"/>
              </a:ext>
            </a:extLst>
          </p:cNvPr>
          <p:cNvGrpSpPr/>
          <p:nvPr/>
        </p:nvGrpSpPr>
        <p:grpSpPr>
          <a:xfrm>
            <a:off x="252000" y="1841672"/>
            <a:ext cx="720000" cy="720000"/>
            <a:chOff x="664653" y="2294205"/>
            <a:chExt cx="720000" cy="720000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4954700D-D874-2A3D-3627-5A3368D5627F}"/>
                </a:ext>
              </a:extLst>
            </p:cNvPr>
            <p:cNvSpPr/>
            <p:nvPr/>
          </p:nvSpPr>
          <p:spPr>
            <a:xfrm>
              <a:off x="664653" y="2294205"/>
              <a:ext cx="720000" cy="720000"/>
            </a:xfrm>
            <a:prstGeom prst="ellipse">
              <a:avLst/>
            </a:prstGeom>
            <a:solidFill>
              <a:srgbClr val="3E4D54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3" name="Grafik 22" descr="Rohstoffe mit einfarbiger Füllung">
              <a:extLst>
                <a:ext uri="{FF2B5EF4-FFF2-40B4-BE49-F238E27FC236}">
                  <a16:creationId xmlns:a16="http://schemas.microsoft.com/office/drawing/2014/main" id="{814CCDB1-485C-D622-8138-54BB719FF7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13720" y="2437433"/>
              <a:ext cx="396000" cy="428566"/>
            </a:xfrm>
            <a:prstGeom prst="rect">
              <a:avLst/>
            </a:prstGeom>
          </p:spPr>
        </p:pic>
      </p:grpSp>
      <p:sp>
        <p:nvSpPr>
          <p:cNvPr id="24" name="Textfeld 23">
            <a:extLst>
              <a:ext uri="{FF2B5EF4-FFF2-40B4-BE49-F238E27FC236}">
                <a16:creationId xmlns:a16="http://schemas.microsoft.com/office/drawing/2014/main" id="{B80A72AD-C560-C6A1-8326-533AAB4012F2}"/>
              </a:ext>
            </a:extLst>
          </p:cNvPr>
          <p:cNvSpPr txBox="1"/>
          <p:nvPr/>
        </p:nvSpPr>
        <p:spPr>
          <a:xfrm>
            <a:off x="8345413" y="2530859"/>
            <a:ext cx="19747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/>
              <a:t>Energie- und Industriedienstleister </a:t>
            </a:r>
            <a:r>
              <a:rPr lang="de-DE" sz="1200"/>
              <a:t>auf EE- und H</a:t>
            </a:r>
            <a:r>
              <a:rPr lang="de-DE" sz="1200" baseline="-25000"/>
              <a:t>2</a:t>
            </a:r>
            <a:r>
              <a:rPr lang="de-DE" sz="1200"/>
              <a:t>-Basis</a:t>
            </a:r>
            <a:endParaRPr lang="de-DE" sz="1200" baseline="-25000"/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5A93ED8F-0DAF-D00F-E1F8-C5720FCD1600}"/>
              </a:ext>
            </a:extLst>
          </p:cNvPr>
          <p:cNvGrpSpPr/>
          <p:nvPr/>
        </p:nvGrpSpPr>
        <p:grpSpPr>
          <a:xfrm>
            <a:off x="11213964" y="1154465"/>
            <a:ext cx="648072" cy="648000"/>
            <a:chOff x="11195566" y="3361916"/>
            <a:chExt cx="648072" cy="648000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4CFB2C15-6723-8992-2B46-3BEF6CBF84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195566" y="3361916"/>
              <a:ext cx="648072" cy="6480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" name="Grafik 17" descr="Windkraftanlagen mit einfarbiger Füllung">
              <a:extLst>
                <a:ext uri="{FF2B5EF4-FFF2-40B4-BE49-F238E27FC236}">
                  <a16:creationId xmlns:a16="http://schemas.microsoft.com/office/drawing/2014/main" id="{6E86BD3B-A1A8-6C51-7B2E-D897A04EEEE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flipH="1">
              <a:off x="11319717" y="3444221"/>
              <a:ext cx="445353" cy="49790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BB01C551-D51E-ED65-96C4-CA50E1D2BD4A}"/>
              </a:ext>
            </a:extLst>
          </p:cNvPr>
          <p:cNvGrpSpPr/>
          <p:nvPr/>
        </p:nvGrpSpPr>
        <p:grpSpPr>
          <a:xfrm>
            <a:off x="11213964" y="2713339"/>
            <a:ext cx="848705" cy="648000"/>
            <a:chOff x="11060587" y="5311104"/>
            <a:chExt cx="848705" cy="648000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D47D8E90-28FA-1130-3D5E-3EBF332768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060587" y="5311104"/>
              <a:ext cx="648072" cy="6480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46EC9CD9-BD65-5A17-213A-20CC077A79CF}"/>
                </a:ext>
              </a:extLst>
            </p:cNvPr>
            <p:cNvSpPr txBox="1"/>
            <p:nvPr/>
          </p:nvSpPr>
          <p:spPr>
            <a:xfrm>
              <a:off x="11189212" y="5488644"/>
              <a:ext cx="72008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>
                  <a:solidFill>
                    <a:schemeClr val="bg1"/>
                  </a:solidFill>
                </a:rPr>
                <a:t>H</a:t>
              </a:r>
              <a:r>
                <a:rPr lang="de-DE" sz="1600" b="1" baseline="-2500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C535B14E-2C74-869E-7233-37B238E67B41}"/>
              </a:ext>
            </a:extLst>
          </p:cNvPr>
          <p:cNvGrpSpPr/>
          <p:nvPr/>
        </p:nvGrpSpPr>
        <p:grpSpPr>
          <a:xfrm>
            <a:off x="11213964" y="1933902"/>
            <a:ext cx="648072" cy="648000"/>
            <a:chOff x="11196049" y="4284416"/>
            <a:chExt cx="648072" cy="648000"/>
          </a:xfrm>
        </p:grpSpPr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B102616C-8519-4011-ED74-D33DBE5AB4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196049" y="4284416"/>
              <a:ext cx="648072" cy="6480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16" descr="Solarmodule mit einfarbiger Füllung">
              <a:extLst>
                <a:ext uri="{FF2B5EF4-FFF2-40B4-BE49-F238E27FC236}">
                  <a16:creationId xmlns:a16="http://schemas.microsoft.com/office/drawing/2014/main" id="{E5677874-E82C-48DA-85C1-EA061151AAF3}"/>
                </a:ext>
              </a:extLst>
            </p:cNvPr>
            <p:cNvPicPr>
              <a:picLocks/>
            </p:cNvPicPr>
            <p:nvPr/>
          </p:nvPicPr>
          <p:blipFill rotWithShape="1"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 l="9442" t="26769"/>
            <a:stretch/>
          </p:blipFill>
          <p:spPr>
            <a:xfrm flipH="1">
              <a:off x="11308527" y="4405647"/>
              <a:ext cx="438004" cy="396000"/>
            </a:xfrm>
            <a:prstGeom prst="trapezoid">
              <a:avLst/>
            </a:prstGeom>
            <a:noFill/>
            <a:ln>
              <a:noFill/>
            </a:ln>
          </p:spPr>
        </p:pic>
      </p:grpSp>
      <p:pic>
        <p:nvPicPr>
          <p:cNvPr id="31" name="Grafik 30" descr="Wasser Silhouette">
            <a:extLst>
              <a:ext uri="{FF2B5EF4-FFF2-40B4-BE49-F238E27FC236}">
                <a16:creationId xmlns:a16="http://schemas.microsoft.com/office/drawing/2014/main" id="{9358617E-25E0-76CA-CEBF-D31ADF3FA2D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185444" y="2665161"/>
            <a:ext cx="720000" cy="720000"/>
          </a:xfrm>
          <a:prstGeom prst="rect">
            <a:avLst/>
          </a:prstGeom>
        </p:spPr>
      </p:pic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20996199-D36E-50D4-A487-1F8330AEF75B}"/>
              </a:ext>
            </a:extLst>
          </p:cNvPr>
          <p:cNvGrpSpPr/>
          <p:nvPr/>
        </p:nvGrpSpPr>
        <p:grpSpPr>
          <a:xfrm>
            <a:off x="7222225" y="3776417"/>
            <a:ext cx="1332000" cy="1332000"/>
            <a:chOff x="7280803" y="2063536"/>
            <a:chExt cx="1332000" cy="1332000"/>
          </a:xfrm>
        </p:grpSpPr>
        <p:sp>
          <p:nvSpPr>
            <p:cNvPr id="101" name="Graphic 15">
              <a:extLst>
                <a:ext uri="{FF2B5EF4-FFF2-40B4-BE49-F238E27FC236}">
                  <a16:creationId xmlns:a16="http://schemas.microsoft.com/office/drawing/2014/main" id="{EF3F492F-84A6-B389-82D5-187767CF61FC}"/>
                </a:ext>
              </a:extLst>
            </p:cNvPr>
            <p:cNvSpPr/>
            <p:nvPr/>
          </p:nvSpPr>
          <p:spPr>
            <a:xfrm>
              <a:off x="7280803" y="2063536"/>
              <a:ext cx="1332000" cy="1332000"/>
            </a:xfrm>
            <a:custGeom>
              <a:avLst/>
              <a:gdLst>
                <a:gd name="connsiteX0" fmla="*/ 749311 w 749310"/>
                <a:gd name="connsiteY0" fmla="*/ 214804 h 858552"/>
                <a:gd name="connsiteX1" fmla="*/ 374655 w 749310"/>
                <a:gd name="connsiteY1" fmla="*/ 0 h 858552"/>
                <a:gd name="connsiteX2" fmla="*/ 0 w 749310"/>
                <a:gd name="connsiteY2" fmla="*/ 214804 h 858552"/>
                <a:gd name="connsiteX3" fmla="*/ 0 w 749310"/>
                <a:gd name="connsiteY3" fmla="*/ 643748 h 858552"/>
                <a:gd name="connsiteX4" fmla="*/ 374655 w 749310"/>
                <a:gd name="connsiteY4" fmla="*/ 858552 h 858552"/>
                <a:gd name="connsiteX5" fmla="*/ 749311 w 749310"/>
                <a:gd name="connsiteY5" fmla="*/ 643748 h 858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9310" h="858552">
                  <a:moveTo>
                    <a:pt x="749311" y="214804"/>
                  </a:moveTo>
                  <a:lnTo>
                    <a:pt x="374655" y="0"/>
                  </a:lnTo>
                  <a:lnTo>
                    <a:pt x="0" y="214804"/>
                  </a:lnTo>
                  <a:lnTo>
                    <a:pt x="0" y="643748"/>
                  </a:lnTo>
                  <a:lnTo>
                    <a:pt x="374655" y="858552"/>
                  </a:lnTo>
                  <a:lnTo>
                    <a:pt x="749311" y="643748"/>
                  </a:lnTo>
                  <a:close/>
                </a:path>
              </a:pathLst>
            </a:custGeom>
            <a:noFill/>
            <a:ln w="6633" cap="flat">
              <a:solidFill>
                <a:srgbClr val="00A7D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BR"/>
            </a:p>
          </p:txBody>
        </p:sp>
        <p:grpSp>
          <p:nvGrpSpPr>
            <p:cNvPr id="102" name="Gruppieren 101">
              <a:extLst>
                <a:ext uri="{FF2B5EF4-FFF2-40B4-BE49-F238E27FC236}">
                  <a16:creationId xmlns:a16="http://schemas.microsoft.com/office/drawing/2014/main" id="{77BD51DD-1C4B-11E3-FC81-E80B522AC010}"/>
                </a:ext>
              </a:extLst>
            </p:cNvPr>
            <p:cNvGrpSpPr/>
            <p:nvPr/>
          </p:nvGrpSpPr>
          <p:grpSpPr>
            <a:xfrm>
              <a:off x="7508259" y="2339629"/>
              <a:ext cx="481438" cy="758299"/>
              <a:chOff x="4987674" y="4436810"/>
              <a:chExt cx="1110149" cy="1748563"/>
            </a:xfrm>
          </p:grpSpPr>
          <p:sp>
            <p:nvSpPr>
              <p:cNvPr id="103" name="Freihandform: Form 102">
                <a:extLst>
                  <a:ext uri="{FF2B5EF4-FFF2-40B4-BE49-F238E27FC236}">
                    <a16:creationId xmlns:a16="http://schemas.microsoft.com/office/drawing/2014/main" id="{8BD8A4FB-A47B-1824-E60A-3590BD7503C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987674" y="5357005"/>
                <a:ext cx="1110149" cy="828368"/>
              </a:xfrm>
              <a:custGeom>
                <a:avLst/>
                <a:gdLst>
                  <a:gd name="connsiteX0" fmla="*/ 303228 w 1091862"/>
                  <a:gd name="connsiteY0" fmla="*/ 0 h 814723"/>
                  <a:gd name="connsiteX1" fmla="*/ 545931 w 1091862"/>
                  <a:gd name="connsiteY1" fmla="*/ 350583 h 814723"/>
                  <a:gd name="connsiteX2" fmla="*/ 788635 w 1091862"/>
                  <a:gd name="connsiteY2" fmla="*/ 0 h 814723"/>
                  <a:gd name="connsiteX3" fmla="*/ 798915 w 1091862"/>
                  <a:gd name="connsiteY3" fmla="*/ 540 h 814723"/>
                  <a:gd name="connsiteX4" fmla="*/ 1091862 w 1091862"/>
                  <a:gd name="connsiteY4" fmla="*/ 187833 h 814723"/>
                  <a:gd name="connsiteX5" fmla="*/ 1091862 w 1091862"/>
                  <a:gd name="connsiteY5" fmla="*/ 625842 h 814723"/>
                  <a:gd name="connsiteX6" fmla="*/ 0 w 1091862"/>
                  <a:gd name="connsiteY6" fmla="*/ 625842 h 814723"/>
                  <a:gd name="connsiteX7" fmla="*/ 0 w 1091862"/>
                  <a:gd name="connsiteY7" fmla="*/ 187833 h 814723"/>
                  <a:gd name="connsiteX8" fmla="*/ 292947 w 1091862"/>
                  <a:gd name="connsiteY8" fmla="*/ 540 h 814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1862" h="814723">
                    <a:moveTo>
                      <a:pt x="303228" y="0"/>
                    </a:moveTo>
                    <a:lnTo>
                      <a:pt x="545931" y="350583"/>
                    </a:lnTo>
                    <a:lnTo>
                      <a:pt x="788635" y="0"/>
                    </a:lnTo>
                    <a:lnTo>
                      <a:pt x="798915" y="540"/>
                    </a:lnTo>
                    <a:cubicBezTo>
                      <a:pt x="966100" y="18367"/>
                      <a:pt x="1091862" y="95447"/>
                      <a:pt x="1091862" y="187833"/>
                    </a:cubicBezTo>
                    <a:lnTo>
                      <a:pt x="1091862" y="625842"/>
                    </a:lnTo>
                    <a:cubicBezTo>
                      <a:pt x="699517" y="897245"/>
                      <a:pt x="256056" y="857334"/>
                      <a:pt x="0" y="625842"/>
                    </a:cubicBezTo>
                    <a:lnTo>
                      <a:pt x="0" y="187833"/>
                    </a:lnTo>
                    <a:cubicBezTo>
                      <a:pt x="0" y="95447"/>
                      <a:pt x="125762" y="18367"/>
                      <a:pt x="292947" y="540"/>
                    </a:cubicBez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rgbClr val="00A7D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Freihandform: Form 103">
                <a:extLst>
                  <a:ext uri="{FF2B5EF4-FFF2-40B4-BE49-F238E27FC236}">
                    <a16:creationId xmlns:a16="http://schemas.microsoft.com/office/drawing/2014/main" id="{AB040585-5451-2BF3-F298-BC41EBABB594}"/>
                  </a:ext>
                </a:extLst>
              </p:cNvPr>
              <p:cNvSpPr/>
              <p:nvPr/>
            </p:nvSpPr>
            <p:spPr>
              <a:xfrm>
                <a:off x="5175082" y="4614668"/>
                <a:ext cx="742337" cy="742337"/>
              </a:xfrm>
              <a:custGeom>
                <a:avLst/>
                <a:gdLst>
                  <a:gd name="connsiteX0" fmla="*/ 371169 w 742337"/>
                  <a:gd name="connsiteY0" fmla="*/ 0 h 742337"/>
                  <a:gd name="connsiteX1" fmla="*/ 742337 w 742337"/>
                  <a:gd name="connsiteY1" fmla="*/ 371169 h 742337"/>
                  <a:gd name="connsiteX2" fmla="*/ 371169 w 742337"/>
                  <a:gd name="connsiteY2" fmla="*/ 742337 h 742337"/>
                  <a:gd name="connsiteX3" fmla="*/ 0 w 742337"/>
                  <a:gd name="connsiteY3" fmla="*/ 371169 h 742337"/>
                  <a:gd name="connsiteX4" fmla="*/ 371169 w 742337"/>
                  <a:gd name="connsiteY4" fmla="*/ 0 h 742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2337" h="742337">
                    <a:moveTo>
                      <a:pt x="371169" y="0"/>
                    </a:moveTo>
                    <a:cubicBezTo>
                      <a:pt x="576160" y="0"/>
                      <a:pt x="742337" y="166178"/>
                      <a:pt x="742337" y="371169"/>
                    </a:cubicBezTo>
                    <a:cubicBezTo>
                      <a:pt x="742337" y="576160"/>
                      <a:pt x="576160" y="742337"/>
                      <a:pt x="371169" y="742337"/>
                    </a:cubicBezTo>
                    <a:cubicBezTo>
                      <a:pt x="166178" y="742337"/>
                      <a:pt x="0" y="576160"/>
                      <a:pt x="0" y="371169"/>
                    </a:cubicBezTo>
                    <a:cubicBezTo>
                      <a:pt x="0" y="166178"/>
                      <a:pt x="166178" y="0"/>
                      <a:pt x="3711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rgbClr val="00A7D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05" name="Gruppieren 104">
                <a:extLst>
                  <a:ext uri="{FF2B5EF4-FFF2-40B4-BE49-F238E27FC236}">
                    <a16:creationId xmlns:a16="http://schemas.microsoft.com/office/drawing/2014/main" id="{A2D3EBEF-79BA-3889-9222-11A70EA391BE}"/>
                  </a:ext>
                </a:extLst>
              </p:cNvPr>
              <p:cNvGrpSpPr/>
              <p:nvPr/>
            </p:nvGrpSpPr>
            <p:grpSpPr>
              <a:xfrm>
                <a:off x="5020889" y="4436810"/>
                <a:ext cx="1043720" cy="546975"/>
                <a:chOff x="8472264" y="2426134"/>
                <a:chExt cx="1043720" cy="546975"/>
              </a:xfrm>
            </p:grpSpPr>
            <p:sp>
              <p:nvSpPr>
                <p:cNvPr id="106" name="Freihandform: Form 105">
                  <a:extLst>
                    <a:ext uri="{FF2B5EF4-FFF2-40B4-BE49-F238E27FC236}">
                      <a16:creationId xmlns:a16="http://schemas.microsoft.com/office/drawing/2014/main" id="{AA0C210C-5259-3F8A-9997-E9E08C268B01}"/>
                    </a:ext>
                  </a:extLst>
                </p:cNvPr>
                <p:cNvSpPr/>
                <p:nvPr/>
              </p:nvSpPr>
              <p:spPr>
                <a:xfrm>
                  <a:off x="8599858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7" name="Freihandform: Form 106" descr="Bauarbeiter Silhouette">
                  <a:extLst>
                    <a:ext uri="{FF2B5EF4-FFF2-40B4-BE49-F238E27FC236}">
                      <a16:creationId xmlns:a16="http://schemas.microsoft.com/office/drawing/2014/main" id="{036545E2-678A-52E5-E3F7-FEDB38BFFDB6}"/>
                    </a:ext>
                  </a:extLst>
                </p:cNvPr>
                <p:cNvSpPr/>
                <p:nvPr/>
              </p:nvSpPr>
              <p:spPr>
                <a:xfrm>
                  <a:off x="8472264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solidFill>
                    <a:srgbClr val="00A7DC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pic>
          <p:nvPicPr>
            <p:cNvPr id="108" name="Grafik 107" descr="Klemmbrett Silhouette">
              <a:extLst>
                <a:ext uri="{FF2B5EF4-FFF2-40B4-BE49-F238E27FC236}">
                  <a16:creationId xmlns:a16="http://schemas.microsoft.com/office/drawing/2014/main" id="{5FA4D908-582E-8F66-47DA-2934A094660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977031" y="2465553"/>
              <a:ext cx="507400" cy="507400"/>
            </a:xfrm>
            <a:prstGeom prst="rect">
              <a:avLst/>
            </a:prstGeom>
          </p:spPr>
        </p:pic>
      </p:grpSp>
      <p:grpSp>
        <p:nvGrpSpPr>
          <p:cNvPr id="134" name="Gruppieren 133">
            <a:extLst>
              <a:ext uri="{FF2B5EF4-FFF2-40B4-BE49-F238E27FC236}">
                <a16:creationId xmlns:a16="http://schemas.microsoft.com/office/drawing/2014/main" id="{A8D0FD00-1F2D-FFD8-A72B-EF9F7911C4E0}"/>
              </a:ext>
            </a:extLst>
          </p:cNvPr>
          <p:cNvGrpSpPr/>
          <p:nvPr/>
        </p:nvGrpSpPr>
        <p:grpSpPr>
          <a:xfrm>
            <a:off x="5806898" y="3785917"/>
            <a:ext cx="1332000" cy="1332000"/>
            <a:chOff x="7937615" y="4756368"/>
            <a:chExt cx="1332000" cy="1332000"/>
          </a:xfrm>
        </p:grpSpPr>
        <p:sp>
          <p:nvSpPr>
            <p:cNvPr id="109" name="Graphic 18">
              <a:extLst>
                <a:ext uri="{FF2B5EF4-FFF2-40B4-BE49-F238E27FC236}">
                  <a16:creationId xmlns:a16="http://schemas.microsoft.com/office/drawing/2014/main" id="{D67098DA-D87D-D242-7130-ED064E9A19B0}"/>
                </a:ext>
              </a:extLst>
            </p:cNvPr>
            <p:cNvSpPr/>
            <p:nvPr/>
          </p:nvSpPr>
          <p:spPr>
            <a:xfrm>
              <a:off x="7937615" y="4756368"/>
              <a:ext cx="1332000" cy="1332000"/>
            </a:xfrm>
            <a:custGeom>
              <a:avLst/>
              <a:gdLst>
                <a:gd name="connsiteX0" fmla="*/ 749311 w 749310"/>
                <a:gd name="connsiteY0" fmla="*/ 214804 h 858552"/>
                <a:gd name="connsiteX1" fmla="*/ 374655 w 749310"/>
                <a:gd name="connsiteY1" fmla="*/ 0 h 858552"/>
                <a:gd name="connsiteX2" fmla="*/ 0 w 749310"/>
                <a:gd name="connsiteY2" fmla="*/ 214804 h 858552"/>
                <a:gd name="connsiteX3" fmla="*/ 0 w 749310"/>
                <a:gd name="connsiteY3" fmla="*/ 643748 h 858552"/>
                <a:gd name="connsiteX4" fmla="*/ 374655 w 749310"/>
                <a:gd name="connsiteY4" fmla="*/ 858552 h 858552"/>
                <a:gd name="connsiteX5" fmla="*/ 749311 w 749310"/>
                <a:gd name="connsiteY5" fmla="*/ 643748 h 858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9310" h="858552">
                  <a:moveTo>
                    <a:pt x="749311" y="214804"/>
                  </a:moveTo>
                  <a:lnTo>
                    <a:pt x="374655" y="0"/>
                  </a:lnTo>
                  <a:lnTo>
                    <a:pt x="0" y="214804"/>
                  </a:lnTo>
                  <a:lnTo>
                    <a:pt x="0" y="643748"/>
                  </a:lnTo>
                  <a:lnTo>
                    <a:pt x="374655" y="858552"/>
                  </a:lnTo>
                  <a:lnTo>
                    <a:pt x="749311" y="643748"/>
                  </a:lnTo>
                  <a:close/>
                </a:path>
              </a:pathLst>
            </a:custGeom>
            <a:noFill/>
            <a:ln w="6633" cap="flat">
              <a:solidFill>
                <a:srgbClr val="FAAF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BR"/>
            </a:p>
          </p:txBody>
        </p:sp>
        <p:grpSp>
          <p:nvGrpSpPr>
            <p:cNvPr id="110" name="Gruppieren 109">
              <a:extLst>
                <a:ext uri="{FF2B5EF4-FFF2-40B4-BE49-F238E27FC236}">
                  <a16:creationId xmlns:a16="http://schemas.microsoft.com/office/drawing/2014/main" id="{D9792D02-59E5-2227-1DE7-D9D9707CBFAB}"/>
                </a:ext>
              </a:extLst>
            </p:cNvPr>
            <p:cNvGrpSpPr/>
            <p:nvPr/>
          </p:nvGrpSpPr>
          <p:grpSpPr>
            <a:xfrm>
              <a:off x="8147859" y="4982423"/>
              <a:ext cx="879286" cy="800352"/>
              <a:chOff x="3996624" y="2073160"/>
              <a:chExt cx="1775631" cy="1616231"/>
            </a:xfrm>
            <a:solidFill>
              <a:srgbClr val="FAAF00"/>
            </a:solidFill>
          </p:grpSpPr>
          <p:grpSp>
            <p:nvGrpSpPr>
              <p:cNvPr id="111" name="Grafik 13" descr="Blaupause Silhouette">
                <a:extLst>
                  <a:ext uri="{FF2B5EF4-FFF2-40B4-BE49-F238E27FC236}">
                    <a16:creationId xmlns:a16="http://schemas.microsoft.com/office/drawing/2014/main" id="{9054B078-218B-2D25-00DD-C346CF20E5C3}"/>
                  </a:ext>
                </a:extLst>
              </p:cNvPr>
              <p:cNvGrpSpPr/>
              <p:nvPr/>
            </p:nvGrpSpPr>
            <p:grpSpPr>
              <a:xfrm>
                <a:off x="3996624" y="2073160"/>
                <a:ext cx="1775631" cy="1616231"/>
                <a:chOff x="3996624" y="2073160"/>
                <a:chExt cx="1775631" cy="1616231"/>
              </a:xfrm>
              <a:grpFill/>
            </p:grpSpPr>
            <p:sp>
              <p:nvSpPr>
                <p:cNvPr id="113" name="Freihandform: Form 112">
                  <a:extLst>
                    <a:ext uri="{FF2B5EF4-FFF2-40B4-BE49-F238E27FC236}">
                      <a16:creationId xmlns:a16="http://schemas.microsoft.com/office/drawing/2014/main" id="{98EC39E6-8A76-4279-F56F-DC449D70C069}"/>
                    </a:ext>
                  </a:extLst>
                </p:cNvPr>
                <p:cNvSpPr/>
                <p:nvPr/>
              </p:nvSpPr>
              <p:spPr>
                <a:xfrm>
                  <a:off x="3996624" y="2164170"/>
                  <a:ext cx="1775631" cy="1525221"/>
                </a:xfrm>
                <a:custGeom>
                  <a:avLst/>
                  <a:gdLst>
                    <a:gd name="connsiteX0" fmla="*/ 1606286 w 1775631"/>
                    <a:gd name="connsiteY0" fmla="*/ 227645 h 1525221"/>
                    <a:gd name="connsiteX1" fmla="*/ 1560757 w 1775631"/>
                    <a:gd name="connsiteY1" fmla="*/ 273174 h 1525221"/>
                    <a:gd name="connsiteX2" fmla="*/ 1730102 w 1775631"/>
                    <a:gd name="connsiteY2" fmla="*/ 273174 h 1525221"/>
                    <a:gd name="connsiteX3" fmla="*/ 1730102 w 1775631"/>
                    <a:gd name="connsiteY3" fmla="*/ 1479693 h 1525221"/>
                    <a:gd name="connsiteX4" fmla="*/ 270670 w 1775631"/>
                    <a:gd name="connsiteY4" fmla="*/ 1479693 h 1525221"/>
                    <a:gd name="connsiteX5" fmla="*/ 316882 w 1775631"/>
                    <a:gd name="connsiteY5" fmla="*/ 1388635 h 1525221"/>
                    <a:gd name="connsiteX6" fmla="*/ 318703 w 1775631"/>
                    <a:gd name="connsiteY6" fmla="*/ 1365870 h 1525221"/>
                    <a:gd name="connsiteX7" fmla="*/ 318703 w 1775631"/>
                    <a:gd name="connsiteY7" fmla="*/ 273174 h 1525221"/>
                    <a:gd name="connsiteX8" fmla="*/ 1080813 w 1775631"/>
                    <a:gd name="connsiteY8" fmla="*/ 273174 h 1525221"/>
                    <a:gd name="connsiteX9" fmla="*/ 1126342 w 1775631"/>
                    <a:gd name="connsiteY9" fmla="*/ 227645 h 1525221"/>
                    <a:gd name="connsiteX10" fmla="*/ 318703 w 1775631"/>
                    <a:gd name="connsiteY10" fmla="*/ 227645 h 1525221"/>
                    <a:gd name="connsiteX11" fmla="*/ 318703 w 1775631"/>
                    <a:gd name="connsiteY11" fmla="*/ 159352 h 1525221"/>
                    <a:gd name="connsiteX12" fmla="*/ 159352 w 1775631"/>
                    <a:gd name="connsiteY12" fmla="*/ 0 h 1525221"/>
                    <a:gd name="connsiteX13" fmla="*/ 0 w 1775631"/>
                    <a:gd name="connsiteY13" fmla="*/ 159352 h 1525221"/>
                    <a:gd name="connsiteX14" fmla="*/ 0 w 1775631"/>
                    <a:gd name="connsiteY14" fmla="*/ 1365870 h 1525221"/>
                    <a:gd name="connsiteX15" fmla="*/ 1821 w 1775631"/>
                    <a:gd name="connsiteY15" fmla="*/ 1388635 h 1525221"/>
                    <a:gd name="connsiteX16" fmla="*/ 149244 w 1775631"/>
                    <a:gd name="connsiteY16" fmla="*/ 1524607 h 1525221"/>
                    <a:gd name="connsiteX17" fmla="*/ 1775631 w 1775631"/>
                    <a:gd name="connsiteY17" fmla="*/ 1525222 h 1525221"/>
                    <a:gd name="connsiteX18" fmla="*/ 1775631 w 1775631"/>
                    <a:gd name="connsiteY18" fmla="*/ 227645 h 1525221"/>
                    <a:gd name="connsiteX19" fmla="*/ 45529 w 1775631"/>
                    <a:gd name="connsiteY19" fmla="*/ 159352 h 1525221"/>
                    <a:gd name="connsiteX20" fmla="*/ 159352 w 1775631"/>
                    <a:gd name="connsiteY20" fmla="*/ 45529 h 1525221"/>
                    <a:gd name="connsiteX21" fmla="*/ 273174 w 1775631"/>
                    <a:gd name="connsiteY21" fmla="*/ 159352 h 1525221"/>
                    <a:gd name="connsiteX22" fmla="*/ 273174 w 1775631"/>
                    <a:gd name="connsiteY22" fmla="*/ 1254552 h 1525221"/>
                    <a:gd name="connsiteX23" fmla="*/ 48513 w 1775631"/>
                    <a:gd name="connsiteY23" fmla="*/ 1251567 h 1525221"/>
                    <a:gd name="connsiteX24" fmla="*/ 45529 w 1775631"/>
                    <a:gd name="connsiteY24" fmla="*/ 1254552 h 1525221"/>
                    <a:gd name="connsiteX25" fmla="*/ 45529 w 1775631"/>
                    <a:gd name="connsiteY25" fmla="*/ 1365870 h 1525221"/>
                    <a:gd name="connsiteX26" fmla="*/ 159352 w 1775631"/>
                    <a:gd name="connsiteY26" fmla="*/ 1252048 h 1525221"/>
                    <a:gd name="connsiteX27" fmla="*/ 273174 w 1775631"/>
                    <a:gd name="connsiteY27" fmla="*/ 1365870 h 1525221"/>
                    <a:gd name="connsiteX28" fmla="*/ 159352 w 1775631"/>
                    <a:gd name="connsiteY28" fmla="*/ 1479693 h 1525221"/>
                    <a:gd name="connsiteX29" fmla="*/ 45529 w 1775631"/>
                    <a:gd name="connsiteY29" fmla="*/ 1365870 h 15252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775631" h="1525221">
                      <a:moveTo>
                        <a:pt x="1606286" y="227645"/>
                      </a:moveTo>
                      <a:lnTo>
                        <a:pt x="1560757" y="273174"/>
                      </a:lnTo>
                      <a:lnTo>
                        <a:pt x="1730102" y="273174"/>
                      </a:lnTo>
                      <a:lnTo>
                        <a:pt x="1730102" y="1479693"/>
                      </a:lnTo>
                      <a:lnTo>
                        <a:pt x="270670" y="1479693"/>
                      </a:lnTo>
                      <a:cubicBezTo>
                        <a:pt x="295668" y="1455248"/>
                        <a:pt x="311910" y="1423244"/>
                        <a:pt x="316882" y="1388635"/>
                      </a:cubicBezTo>
                      <a:lnTo>
                        <a:pt x="318703" y="1365870"/>
                      </a:lnTo>
                      <a:lnTo>
                        <a:pt x="318703" y="273174"/>
                      </a:lnTo>
                      <a:lnTo>
                        <a:pt x="1080813" y="273174"/>
                      </a:lnTo>
                      <a:lnTo>
                        <a:pt x="1126342" y="227645"/>
                      </a:lnTo>
                      <a:lnTo>
                        <a:pt x="318703" y="227645"/>
                      </a:lnTo>
                      <a:lnTo>
                        <a:pt x="318703" y="159352"/>
                      </a:lnTo>
                      <a:cubicBezTo>
                        <a:pt x="318703" y="71344"/>
                        <a:pt x="247359" y="0"/>
                        <a:pt x="159352" y="0"/>
                      </a:cubicBezTo>
                      <a:cubicBezTo>
                        <a:pt x="71344" y="0"/>
                        <a:pt x="0" y="71344"/>
                        <a:pt x="0" y="159352"/>
                      </a:cubicBezTo>
                      <a:lnTo>
                        <a:pt x="0" y="1365870"/>
                      </a:lnTo>
                      <a:lnTo>
                        <a:pt x="1821" y="1388635"/>
                      </a:lnTo>
                      <a:cubicBezTo>
                        <a:pt x="12703" y="1463077"/>
                        <a:pt x="74167" y="1519767"/>
                        <a:pt x="149244" y="1524607"/>
                      </a:cubicBezTo>
                      <a:lnTo>
                        <a:pt x="1775631" y="1525222"/>
                      </a:lnTo>
                      <a:lnTo>
                        <a:pt x="1775631" y="227645"/>
                      </a:lnTo>
                      <a:close/>
                      <a:moveTo>
                        <a:pt x="45529" y="159352"/>
                      </a:moveTo>
                      <a:cubicBezTo>
                        <a:pt x="45529" y="96490"/>
                        <a:pt x="96490" y="45529"/>
                        <a:pt x="159352" y="45529"/>
                      </a:cubicBezTo>
                      <a:cubicBezTo>
                        <a:pt x="222213" y="45529"/>
                        <a:pt x="273174" y="96490"/>
                        <a:pt x="273174" y="159352"/>
                      </a:cubicBezTo>
                      <a:lnTo>
                        <a:pt x="273174" y="1254552"/>
                      </a:lnTo>
                      <a:cubicBezTo>
                        <a:pt x="211960" y="1191690"/>
                        <a:pt x="111375" y="1190354"/>
                        <a:pt x="48513" y="1251567"/>
                      </a:cubicBezTo>
                      <a:cubicBezTo>
                        <a:pt x="47505" y="1252548"/>
                        <a:pt x="46510" y="1253543"/>
                        <a:pt x="45529" y="1254552"/>
                      </a:cubicBezTo>
                      <a:close/>
                      <a:moveTo>
                        <a:pt x="45529" y="1365870"/>
                      </a:moveTo>
                      <a:cubicBezTo>
                        <a:pt x="45529" y="1303008"/>
                        <a:pt x="96490" y="1252048"/>
                        <a:pt x="159352" y="1252048"/>
                      </a:cubicBezTo>
                      <a:cubicBezTo>
                        <a:pt x="222213" y="1252048"/>
                        <a:pt x="273174" y="1303008"/>
                        <a:pt x="273174" y="1365870"/>
                      </a:cubicBezTo>
                      <a:cubicBezTo>
                        <a:pt x="273174" y="1428732"/>
                        <a:pt x="222213" y="1479693"/>
                        <a:pt x="159352" y="1479693"/>
                      </a:cubicBezTo>
                      <a:cubicBezTo>
                        <a:pt x="96519" y="1479617"/>
                        <a:pt x="45604" y="1428702"/>
                        <a:pt x="45529" y="1365870"/>
                      </a:cubicBezTo>
                      <a:close/>
                    </a:path>
                  </a:pathLst>
                </a:custGeom>
                <a:grpFill/>
                <a:ln w="227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4" name="Freihandform: Form 113">
                  <a:extLst>
                    <a:ext uri="{FF2B5EF4-FFF2-40B4-BE49-F238E27FC236}">
                      <a16:creationId xmlns:a16="http://schemas.microsoft.com/office/drawing/2014/main" id="{FC59AB4C-B7B4-1331-1419-8ECE5DE223FB}"/>
                    </a:ext>
                  </a:extLst>
                </p:cNvPr>
                <p:cNvSpPr/>
                <p:nvPr/>
              </p:nvSpPr>
              <p:spPr>
                <a:xfrm>
                  <a:off x="4781999" y="2073160"/>
                  <a:ext cx="899199" cy="899217"/>
                </a:xfrm>
                <a:custGeom>
                  <a:avLst/>
                  <a:gdLst>
                    <a:gd name="connsiteX0" fmla="*/ 0 w 899199"/>
                    <a:gd name="connsiteY0" fmla="*/ 899218 h 899217"/>
                    <a:gd name="connsiteX1" fmla="*/ 214442 w 899199"/>
                    <a:gd name="connsiteY1" fmla="*/ 828489 h 899217"/>
                    <a:gd name="connsiteX2" fmla="*/ 884742 w 899199"/>
                    <a:gd name="connsiteY2" fmla="*/ 156003 h 899217"/>
                    <a:gd name="connsiteX3" fmla="*/ 888621 w 899199"/>
                    <a:gd name="connsiteY3" fmla="*/ 95988 h 899217"/>
                    <a:gd name="connsiteX4" fmla="*/ 885858 w 899199"/>
                    <a:gd name="connsiteY4" fmla="*/ 93127 h 899217"/>
                    <a:gd name="connsiteX5" fmla="*/ 806182 w 899199"/>
                    <a:gd name="connsiteY5" fmla="*/ 13451 h 899217"/>
                    <a:gd name="connsiteX6" fmla="*/ 742860 w 899199"/>
                    <a:gd name="connsiteY6" fmla="*/ 12782 h 899217"/>
                    <a:gd name="connsiteX7" fmla="*/ 742191 w 899199"/>
                    <a:gd name="connsiteY7" fmla="*/ 13451 h 899217"/>
                    <a:gd name="connsiteX8" fmla="*/ 70775 w 899199"/>
                    <a:gd name="connsiteY8" fmla="*/ 685915 h 899217"/>
                    <a:gd name="connsiteX9" fmla="*/ 774175 w 899199"/>
                    <a:gd name="connsiteY9" fmla="*/ 45822 h 899217"/>
                    <a:gd name="connsiteX10" fmla="*/ 852326 w 899199"/>
                    <a:gd name="connsiteY10" fmla="*/ 124018 h 899217"/>
                    <a:gd name="connsiteX11" fmla="*/ 782325 w 899199"/>
                    <a:gd name="connsiteY11" fmla="*/ 194019 h 899217"/>
                    <a:gd name="connsiteX12" fmla="*/ 704129 w 899199"/>
                    <a:gd name="connsiteY12" fmla="*/ 115823 h 899217"/>
                    <a:gd name="connsiteX13" fmla="*/ 664336 w 899199"/>
                    <a:gd name="connsiteY13" fmla="*/ 155638 h 899217"/>
                    <a:gd name="connsiteX14" fmla="*/ 671940 w 899199"/>
                    <a:gd name="connsiteY14" fmla="*/ 148012 h 899217"/>
                    <a:gd name="connsiteX15" fmla="*/ 750978 w 899199"/>
                    <a:gd name="connsiteY15" fmla="*/ 226982 h 899217"/>
                    <a:gd name="connsiteX16" fmla="*/ 743079 w 899199"/>
                    <a:gd name="connsiteY16" fmla="*/ 235451 h 899217"/>
                    <a:gd name="connsiteX17" fmla="*/ 250796 w 899199"/>
                    <a:gd name="connsiteY17" fmla="*/ 727801 h 899217"/>
                    <a:gd name="connsiteX18" fmla="*/ 171644 w 899199"/>
                    <a:gd name="connsiteY18" fmla="*/ 649309 h 899217"/>
                    <a:gd name="connsiteX19" fmla="*/ 110613 w 899199"/>
                    <a:gd name="connsiteY19" fmla="*/ 710455 h 899217"/>
                    <a:gd name="connsiteX20" fmla="*/ 119923 w 899199"/>
                    <a:gd name="connsiteY20" fmla="*/ 701121 h 899217"/>
                    <a:gd name="connsiteX21" fmla="*/ 150360 w 899199"/>
                    <a:gd name="connsiteY21" fmla="*/ 692516 h 899217"/>
                    <a:gd name="connsiteX22" fmla="*/ 190903 w 899199"/>
                    <a:gd name="connsiteY22" fmla="*/ 709499 h 899217"/>
                    <a:gd name="connsiteX23" fmla="*/ 197960 w 899199"/>
                    <a:gd name="connsiteY23" fmla="*/ 780638 h 899217"/>
                    <a:gd name="connsiteX24" fmla="*/ 189947 w 899199"/>
                    <a:gd name="connsiteY24" fmla="*/ 788651 h 899217"/>
                    <a:gd name="connsiteX25" fmla="*/ 94860 w 899199"/>
                    <a:gd name="connsiteY25" fmla="*/ 820020 h 899217"/>
                    <a:gd name="connsiteX26" fmla="*/ 79403 w 899199"/>
                    <a:gd name="connsiteY26" fmla="*/ 804563 h 8992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899199" h="899217">
                      <a:moveTo>
                        <a:pt x="0" y="899218"/>
                      </a:moveTo>
                      <a:lnTo>
                        <a:pt x="214442" y="828489"/>
                      </a:lnTo>
                      <a:lnTo>
                        <a:pt x="884742" y="156003"/>
                      </a:lnTo>
                      <a:cubicBezTo>
                        <a:pt x="902385" y="140502"/>
                        <a:pt x="904122" y="113633"/>
                        <a:pt x="888621" y="95988"/>
                      </a:cubicBezTo>
                      <a:cubicBezTo>
                        <a:pt x="887745" y="94994"/>
                        <a:pt x="886823" y="94038"/>
                        <a:pt x="885858" y="93127"/>
                      </a:cubicBezTo>
                      <a:lnTo>
                        <a:pt x="806182" y="13451"/>
                      </a:lnTo>
                      <a:cubicBezTo>
                        <a:pt x="788881" y="-4219"/>
                        <a:pt x="760530" y="-4519"/>
                        <a:pt x="742860" y="12782"/>
                      </a:cubicBezTo>
                      <a:cubicBezTo>
                        <a:pt x="742635" y="13003"/>
                        <a:pt x="742412" y="13226"/>
                        <a:pt x="742191" y="13451"/>
                      </a:cubicBezTo>
                      <a:lnTo>
                        <a:pt x="70775" y="685915"/>
                      </a:lnTo>
                      <a:close/>
                      <a:moveTo>
                        <a:pt x="774175" y="45822"/>
                      </a:moveTo>
                      <a:lnTo>
                        <a:pt x="852326" y="124018"/>
                      </a:lnTo>
                      <a:lnTo>
                        <a:pt x="782325" y="194019"/>
                      </a:lnTo>
                      <a:lnTo>
                        <a:pt x="704129" y="115823"/>
                      </a:lnTo>
                      <a:close/>
                      <a:moveTo>
                        <a:pt x="664336" y="155638"/>
                      </a:moveTo>
                      <a:lnTo>
                        <a:pt x="671940" y="148012"/>
                      </a:lnTo>
                      <a:lnTo>
                        <a:pt x="750978" y="226982"/>
                      </a:lnTo>
                      <a:lnTo>
                        <a:pt x="743079" y="235451"/>
                      </a:lnTo>
                      <a:lnTo>
                        <a:pt x="250796" y="727801"/>
                      </a:lnTo>
                      <a:cubicBezTo>
                        <a:pt x="242066" y="688391"/>
                        <a:pt x="211127" y="657709"/>
                        <a:pt x="171644" y="649309"/>
                      </a:cubicBezTo>
                      <a:close/>
                      <a:moveTo>
                        <a:pt x="110613" y="710455"/>
                      </a:moveTo>
                      <a:lnTo>
                        <a:pt x="119923" y="701121"/>
                      </a:lnTo>
                      <a:cubicBezTo>
                        <a:pt x="129100" y="695546"/>
                        <a:pt x="139622" y="692571"/>
                        <a:pt x="150360" y="692516"/>
                      </a:cubicBezTo>
                      <a:cubicBezTo>
                        <a:pt x="165603" y="692519"/>
                        <a:pt x="180208" y="698638"/>
                        <a:pt x="190903" y="709499"/>
                      </a:cubicBezTo>
                      <a:cubicBezTo>
                        <a:pt x="210301" y="728311"/>
                        <a:pt x="213285" y="758381"/>
                        <a:pt x="197960" y="780638"/>
                      </a:cubicBezTo>
                      <a:lnTo>
                        <a:pt x="189947" y="788651"/>
                      </a:lnTo>
                      <a:lnTo>
                        <a:pt x="94860" y="820020"/>
                      </a:lnTo>
                      <a:lnTo>
                        <a:pt x="79403" y="804563"/>
                      </a:lnTo>
                      <a:close/>
                    </a:path>
                  </a:pathLst>
                </a:custGeom>
                <a:grpFill/>
                <a:ln w="227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pic>
            <p:nvPicPr>
              <p:cNvPr id="112" name="Grafik 111" descr="Fabrik Silhouette">
                <a:extLst>
                  <a:ext uri="{FF2B5EF4-FFF2-40B4-BE49-F238E27FC236}">
                    <a16:creationId xmlns:a16="http://schemas.microsoft.com/office/drawing/2014/main" id="{5A5F847F-0C76-BFA9-789E-FE984A6F52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4368770" y="2442300"/>
                <a:ext cx="1236817" cy="1236817"/>
              </a:xfrm>
              <a:prstGeom prst="rect">
                <a:avLst/>
              </a:prstGeom>
            </p:spPr>
          </p:pic>
        </p:grpSp>
      </p:grpSp>
      <p:grpSp>
        <p:nvGrpSpPr>
          <p:cNvPr id="135" name="Gruppieren 134">
            <a:extLst>
              <a:ext uri="{FF2B5EF4-FFF2-40B4-BE49-F238E27FC236}">
                <a16:creationId xmlns:a16="http://schemas.microsoft.com/office/drawing/2014/main" id="{B474AECC-6A89-DE38-5AA2-1FBEA7664AEB}"/>
              </a:ext>
            </a:extLst>
          </p:cNvPr>
          <p:cNvGrpSpPr/>
          <p:nvPr/>
        </p:nvGrpSpPr>
        <p:grpSpPr>
          <a:xfrm>
            <a:off x="8635498" y="3777822"/>
            <a:ext cx="1332000" cy="1332000"/>
            <a:chOff x="3724333" y="4444416"/>
            <a:chExt cx="1332000" cy="1332000"/>
          </a:xfrm>
        </p:grpSpPr>
        <p:sp>
          <p:nvSpPr>
            <p:cNvPr id="116" name="Graphic 18">
              <a:extLst>
                <a:ext uri="{FF2B5EF4-FFF2-40B4-BE49-F238E27FC236}">
                  <a16:creationId xmlns:a16="http://schemas.microsoft.com/office/drawing/2014/main" id="{2B8244E7-1E9B-8850-DFB2-B1B43DB0037E}"/>
                </a:ext>
              </a:extLst>
            </p:cNvPr>
            <p:cNvSpPr/>
            <p:nvPr/>
          </p:nvSpPr>
          <p:spPr>
            <a:xfrm>
              <a:off x="3724333" y="4444416"/>
              <a:ext cx="1332000" cy="1332000"/>
            </a:xfrm>
            <a:custGeom>
              <a:avLst/>
              <a:gdLst>
                <a:gd name="connsiteX0" fmla="*/ 749311 w 749310"/>
                <a:gd name="connsiteY0" fmla="*/ 214804 h 858552"/>
                <a:gd name="connsiteX1" fmla="*/ 374655 w 749310"/>
                <a:gd name="connsiteY1" fmla="*/ 0 h 858552"/>
                <a:gd name="connsiteX2" fmla="*/ 0 w 749310"/>
                <a:gd name="connsiteY2" fmla="*/ 214804 h 858552"/>
                <a:gd name="connsiteX3" fmla="*/ 0 w 749310"/>
                <a:gd name="connsiteY3" fmla="*/ 643748 h 858552"/>
                <a:gd name="connsiteX4" fmla="*/ 374655 w 749310"/>
                <a:gd name="connsiteY4" fmla="*/ 858552 h 858552"/>
                <a:gd name="connsiteX5" fmla="*/ 749311 w 749310"/>
                <a:gd name="connsiteY5" fmla="*/ 643748 h 858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9310" h="858552">
                  <a:moveTo>
                    <a:pt x="749311" y="214804"/>
                  </a:moveTo>
                  <a:lnTo>
                    <a:pt x="374655" y="0"/>
                  </a:lnTo>
                  <a:lnTo>
                    <a:pt x="0" y="214804"/>
                  </a:lnTo>
                  <a:lnTo>
                    <a:pt x="0" y="643748"/>
                  </a:lnTo>
                  <a:lnTo>
                    <a:pt x="374655" y="858552"/>
                  </a:lnTo>
                  <a:lnTo>
                    <a:pt x="749311" y="643748"/>
                  </a:lnTo>
                  <a:close/>
                </a:path>
              </a:pathLst>
            </a:custGeom>
            <a:noFill/>
            <a:ln w="6633" cap="flat">
              <a:solidFill>
                <a:srgbClr val="7AB5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BR"/>
            </a:p>
          </p:txBody>
        </p:sp>
        <p:sp>
          <p:nvSpPr>
            <p:cNvPr id="117" name="Freeform 5">
              <a:extLst>
                <a:ext uri="{FF2B5EF4-FFF2-40B4-BE49-F238E27FC236}">
                  <a16:creationId xmlns:a16="http://schemas.microsoft.com/office/drawing/2014/main" id="{1958ECEC-4088-2FA7-08F7-8245BCC0D5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48658" y="4687957"/>
              <a:ext cx="470837" cy="439379"/>
            </a:xfrm>
            <a:custGeom>
              <a:avLst/>
              <a:gdLst>
                <a:gd name="T0" fmla="*/ 562 w 7707"/>
                <a:gd name="T1" fmla="*/ 4868 h 7191"/>
                <a:gd name="T2" fmla="*/ 1465 w 7707"/>
                <a:gd name="T3" fmla="*/ 5094 h 7191"/>
                <a:gd name="T4" fmla="*/ 3774 w 7707"/>
                <a:gd name="T5" fmla="*/ 5169 h 7191"/>
                <a:gd name="T6" fmla="*/ 3724 w 7707"/>
                <a:gd name="T7" fmla="*/ 6574 h 7191"/>
                <a:gd name="T8" fmla="*/ 1666 w 7707"/>
                <a:gd name="T9" fmla="*/ 6675 h 7191"/>
                <a:gd name="T10" fmla="*/ 562 w 7707"/>
                <a:gd name="T11" fmla="*/ 4868 h 7191"/>
                <a:gd name="T12" fmla="*/ 7465 w 7707"/>
                <a:gd name="T13" fmla="*/ 4730 h 7191"/>
                <a:gd name="T14" fmla="*/ 6438 w 7707"/>
                <a:gd name="T15" fmla="*/ 6741 h 7191"/>
                <a:gd name="T16" fmla="*/ 5372 w 7707"/>
                <a:gd name="T17" fmla="*/ 6732 h 7191"/>
                <a:gd name="T18" fmla="*/ 5222 w 7707"/>
                <a:gd name="T19" fmla="*/ 7191 h 7191"/>
                <a:gd name="T20" fmla="*/ 4266 w 7707"/>
                <a:gd name="T21" fmla="*/ 6083 h 7191"/>
                <a:gd name="T22" fmla="*/ 5039 w 7707"/>
                <a:gd name="T23" fmla="*/ 4844 h 7191"/>
                <a:gd name="T24" fmla="*/ 5115 w 7707"/>
                <a:gd name="T25" fmla="*/ 5249 h 7191"/>
                <a:gd name="T26" fmla="*/ 6721 w 7707"/>
                <a:gd name="T27" fmla="*/ 5082 h 7191"/>
                <a:gd name="T28" fmla="*/ 7465 w 7707"/>
                <a:gd name="T29" fmla="*/ 4730 h 7191"/>
                <a:gd name="T30" fmla="*/ 126 w 7707"/>
                <a:gd name="T31" fmla="*/ 2718 h 7191"/>
                <a:gd name="T32" fmla="*/ 1800 w 7707"/>
                <a:gd name="T33" fmla="*/ 2719 h 7191"/>
                <a:gd name="T34" fmla="*/ 2588 w 7707"/>
                <a:gd name="T35" fmla="*/ 4134 h 7191"/>
                <a:gd name="T36" fmla="*/ 1972 w 7707"/>
                <a:gd name="T37" fmla="*/ 3862 h 7191"/>
                <a:gd name="T38" fmla="*/ 1705 w 7707"/>
                <a:gd name="T39" fmla="*/ 4732 h 7191"/>
                <a:gd name="T40" fmla="*/ 742 w 7707"/>
                <a:gd name="T41" fmla="*/ 3141 h 7191"/>
                <a:gd name="T42" fmla="*/ 126 w 7707"/>
                <a:gd name="T43" fmla="*/ 2718 h 7191"/>
                <a:gd name="T44" fmla="*/ 7014 w 7707"/>
                <a:gd name="T45" fmla="*/ 2397 h 7191"/>
                <a:gd name="T46" fmla="*/ 7697 w 7707"/>
                <a:gd name="T47" fmla="*/ 3913 h 7191"/>
                <a:gd name="T48" fmla="*/ 7075 w 7707"/>
                <a:gd name="T49" fmla="*/ 4661 h 7191"/>
                <a:gd name="T50" fmla="*/ 6399 w 7707"/>
                <a:gd name="T51" fmla="*/ 4406 h 7191"/>
                <a:gd name="T52" fmla="*/ 5740 w 7707"/>
                <a:gd name="T53" fmla="*/ 2989 h 7191"/>
                <a:gd name="T54" fmla="*/ 7014 w 7707"/>
                <a:gd name="T55" fmla="*/ 2397 h 7191"/>
                <a:gd name="T56" fmla="*/ 3011 w 7707"/>
                <a:gd name="T57" fmla="*/ 267 h 7191"/>
                <a:gd name="T58" fmla="*/ 3548 w 7707"/>
                <a:gd name="T59" fmla="*/ 428 h 7191"/>
                <a:gd name="T60" fmla="*/ 3648 w 7707"/>
                <a:gd name="T61" fmla="*/ 1187 h 7191"/>
                <a:gd name="T62" fmla="*/ 2678 w 7707"/>
                <a:gd name="T63" fmla="*/ 2630 h 7191"/>
                <a:gd name="T64" fmla="*/ 1512 w 7707"/>
                <a:gd name="T65" fmla="*/ 1846 h 7191"/>
                <a:gd name="T66" fmla="*/ 2412 w 7707"/>
                <a:gd name="T67" fmla="*/ 450 h 7191"/>
                <a:gd name="T68" fmla="*/ 3011 w 7707"/>
                <a:gd name="T69" fmla="*/ 267 h 7191"/>
                <a:gd name="T70" fmla="*/ 3448 w 7707"/>
                <a:gd name="T71" fmla="*/ 0 h 7191"/>
                <a:gd name="T72" fmla="*/ 5706 w 7707"/>
                <a:gd name="T73" fmla="*/ 0 h 7191"/>
                <a:gd name="T74" fmla="*/ 6183 w 7707"/>
                <a:gd name="T75" fmla="*/ 953 h 7191"/>
                <a:gd name="T76" fmla="*/ 6660 w 7707"/>
                <a:gd name="T77" fmla="*/ 878 h 7191"/>
                <a:gd name="T78" fmla="*/ 6108 w 7707"/>
                <a:gd name="T79" fmla="*/ 2233 h 7191"/>
                <a:gd name="T80" fmla="*/ 4652 w 7707"/>
                <a:gd name="T81" fmla="*/ 2108 h 7191"/>
                <a:gd name="T82" fmla="*/ 4979 w 7707"/>
                <a:gd name="T83" fmla="*/ 1857 h 7191"/>
                <a:gd name="T84" fmla="*/ 4100 w 7707"/>
                <a:gd name="T85" fmla="*/ 502 h 7191"/>
                <a:gd name="T86" fmla="*/ 3448 w 7707"/>
                <a:gd name="T87" fmla="*/ 0 h 7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707" h="7191">
                  <a:moveTo>
                    <a:pt x="562" y="4868"/>
                  </a:moveTo>
                  <a:cubicBezTo>
                    <a:pt x="805" y="4998"/>
                    <a:pt x="930" y="5044"/>
                    <a:pt x="1465" y="5094"/>
                  </a:cubicBezTo>
                  <a:cubicBezTo>
                    <a:pt x="2001" y="5144"/>
                    <a:pt x="3398" y="4939"/>
                    <a:pt x="3774" y="5169"/>
                  </a:cubicBezTo>
                  <a:lnTo>
                    <a:pt x="3724" y="6574"/>
                  </a:lnTo>
                  <a:lnTo>
                    <a:pt x="1666" y="6675"/>
                  </a:lnTo>
                  <a:lnTo>
                    <a:pt x="562" y="4868"/>
                  </a:lnTo>
                  <a:close/>
                  <a:moveTo>
                    <a:pt x="7465" y="4730"/>
                  </a:moveTo>
                  <a:lnTo>
                    <a:pt x="6438" y="6741"/>
                  </a:lnTo>
                  <a:lnTo>
                    <a:pt x="5372" y="6732"/>
                  </a:lnTo>
                  <a:lnTo>
                    <a:pt x="5222" y="7191"/>
                  </a:lnTo>
                  <a:lnTo>
                    <a:pt x="4266" y="6083"/>
                  </a:lnTo>
                  <a:lnTo>
                    <a:pt x="5039" y="4844"/>
                  </a:lnTo>
                  <a:lnTo>
                    <a:pt x="5115" y="5249"/>
                  </a:lnTo>
                  <a:cubicBezTo>
                    <a:pt x="5395" y="5288"/>
                    <a:pt x="6329" y="5169"/>
                    <a:pt x="6721" y="5082"/>
                  </a:cubicBezTo>
                  <a:cubicBezTo>
                    <a:pt x="7113" y="4996"/>
                    <a:pt x="7194" y="4911"/>
                    <a:pt x="7465" y="4730"/>
                  </a:cubicBezTo>
                  <a:close/>
                  <a:moveTo>
                    <a:pt x="126" y="2718"/>
                  </a:moveTo>
                  <a:lnTo>
                    <a:pt x="1800" y="2719"/>
                  </a:lnTo>
                  <a:lnTo>
                    <a:pt x="2588" y="4134"/>
                  </a:lnTo>
                  <a:cubicBezTo>
                    <a:pt x="2282" y="4035"/>
                    <a:pt x="2177" y="3911"/>
                    <a:pt x="1972" y="3862"/>
                  </a:cubicBezTo>
                  <a:cubicBezTo>
                    <a:pt x="1708" y="4085"/>
                    <a:pt x="1669" y="4233"/>
                    <a:pt x="1705" y="4732"/>
                  </a:cubicBezTo>
                  <a:cubicBezTo>
                    <a:pt x="363" y="4837"/>
                    <a:pt x="0" y="3763"/>
                    <a:pt x="742" y="3141"/>
                  </a:cubicBezTo>
                  <a:lnTo>
                    <a:pt x="126" y="2718"/>
                  </a:lnTo>
                  <a:close/>
                  <a:moveTo>
                    <a:pt x="7014" y="2397"/>
                  </a:moveTo>
                  <a:cubicBezTo>
                    <a:pt x="7234" y="2869"/>
                    <a:pt x="7477" y="3441"/>
                    <a:pt x="7697" y="3913"/>
                  </a:cubicBezTo>
                  <a:cubicBezTo>
                    <a:pt x="7707" y="4291"/>
                    <a:pt x="7397" y="4554"/>
                    <a:pt x="7075" y="4661"/>
                  </a:cubicBezTo>
                  <a:cubicBezTo>
                    <a:pt x="6604" y="4861"/>
                    <a:pt x="6616" y="4855"/>
                    <a:pt x="6399" y="4406"/>
                  </a:cubicBezTo>
                  <a:lnTo>
                    <a:pt x="5740" y="2989"/>
                  </a:lnTo>
                  <a:lnTo>
                    <a:pt x="7014" y="2397"/>
                  </a:lnTo>
                  <a:close/>
                  <a:moveTo>
                    <a:pt x="3011" y="267"/>
                  </a:moveTo>
                  <a:cubicBezTo>
                    <a:pt x="3221" y="263"/>
                    <a:pt x="3420" y="317"/>
                    <a:pt x="3548" y="428"/>
                  </a:cubicBezTo>
                  <a:cubicBezTo>
                    <a:pt x="3962" y="730"/>
                    <a:pt x="3950" y="723"/>
                    <a:pt x="3648" y="1187"/>
                  </a:cubicBezTo>
                  <a:lnTo>
                    <a:pt x="2678" y="2630"/>
                  </a:lnTo>
                  <a:lnTo>
                    <a:pt x="1512" y="1846"/>
                  </a:lnTo>
                  <a:cubicBezTo>
                    <a:pt x="1835" y="1365"/>
                    <a:pt x="2089" y="931"/>
                    <a:pt x="2412" y="450"/>
                  </a:cubicBezTo>
                  <a:cubicBezTo>
                    <a:pt x="2582" y="332"/>
                    <a:pt x="2802" y="271"/>
                    <a:pt x="3011" y="267"/>
                  </a:cubicBezTo>
                  <a:close/>
                  <a:moveTo>
                    <a:pt x="3448" y="0"/>
                  </a:moveTo>
                  <a:lnTo>
                    <a:pt x="5706" y="0"/>
                  </a:lnTo>
                  <a:lnTo>
                    <a:pt x="6183" y="953"/>
                  </a:lnTo>
                  <a:lnTo>
                    <a:pt x="6660" y="878"/>
                  </a:lnTo>
                  <a:lnTo>
                    <a:pt x="6108" y="2233"/>
                  </a:lnTo>
                  <a:lnTo>
                    <a:pt x="4652" y="2108"/>
                  </a:lnTo>
                  <a:lnTo>
                    <a:pt x="4979" y="1857"/>
                  </a:lnTo>
                  <a:cubicBezTo>
                    <a:pt x="4887" y="1589"/>
                    <a:pt x="4355" y="811"/>
                    <a:pt x="4100" y="502"/>
                  </a:cubicBezTo>
                  <a:cubicBezTo>
                    <a:pt x="3845" y="192"/>
                    <a:pt x="3732" y="159"/>
                    <a:pt x="3448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grpSp>
          <p:nvGrpSpPr>
            <p:cNvPr id="118" name="Gruppieren 117">
              <a:extLst>
                <a:ext uri="{FF2B5EF4-FFF2-40B4-BE49-F238E27FC236}">
                  <a16:creationId xmlns:a16="http://schemas.microsoft.com/office/drawing/2014/main" id="{0E91F521-6E51-AA42-DC11-D5DA6821EF54}"/>
                </a:ext>
              </a:extLst>
            </p:cNvPr>
            <p:cNvGrpSpPr/>
            <p:nvPr/>
          </p:nvGrpSpPr>
          <p:grpSpPr>
            <a:xfrm>
              <a:off x="3860641" y="4910344"/>
              <a:ext cx="1125259" cy="651936"/>
              <a:chOff x="3716625" y="4522126"/>
              <a:chExt cx="1125259" cy="651936"/>
            </a:xfrm>
            <a:solidFill>
              <a:schemeClr val="accent1"/>
            </a:solidFill>
          </p:grpSpPr>
          <p:sp>
            <p:nvSpPr>
              <p:cNvPr id="119" name="Freihandform: Form 118">
                <a:extLst>
                  <a:ext uri="{FF2B5EF4-FFF2-40B4-BE49-F238E27FC236}">
                    <a16:creationId xmlns:a16="http://schemas.microsoft.com/office/drawing/2014/main" id="{BBD3294B-C919-67B4-B0DD-F25B19F84300}"/>
                  </a:ext>
                </a:extLst>
              </p:cNvPr>
              <p:cNvSpPr/>
              <p:nvPr/>
            </p:nvSpPr>
            <p:spPr>
              <a:xfrm>
                <a:off x="3716625" y="4798070"/>
                <a:ext cx="493724" cy="122143"/>
              </a:xfrm>
              <a:custGeom>
                <a:avLst/>
                <a:gdLst>
                  <a:gd name="connsiteX0" fmla="*/ 905315 w 972188"/>
                  <a:gd name="connsiteY0" fmla="*/ 240511 h 240511"/>
                  <a:gd name="connsiteX1" fmla="*/ 972188 w 972188"/>
                  <a:gd name="connsiteY1" fmla="*/ 211394 h 240511"/>
                  <a:gd name="connsiteX2" fmla="*/ 948190 w 972188"/>
                  <a:gd name="connsiteY2" fmla="*/ 203362 h 240511"/>
                  <a:gd name="connsiteX3" fmla="*/ 50956 w 972188"/>
                  <a:gd name="connsiteY3" fmla="*/ 5144 h 240511"/>
                  <a:gd name="connsiteX4" fmla="*/ 0 w 972188"/>
                  <a:gd name="connsiteY4" fmla="*/ 0 h 240511"/>
                  <a:gd name="connsiteX5" fmla="*/ 0 w 972188"/>
                  <a:gd name="connsiteY5" fmla="*/ 48821 h 240511"/>
                  <a:gd name="connsiteX6" fmla="*/ 45860 w 972188"/>
                  <a:gd name="connsiteY6" fmla="*/ 53455 h 240511"/>
                  <a:gd name="connsiteX7" fmla="*/ 905315 w 972188"/>
                  <a:gd name="connsiteY7" fmla="*/ 240511 h 240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2188" h="240511">
                    <a:moveTo>
                      <a:pt x="905315" y="240511"/>
                    </a:moveTo>
                    <a:cubicBezTo>
                      <a:pt x="927493" y="230563"/>
                      <a:pt x="949840" y="220930"/>
                      <a:pt x="972188" y="211394"/>
                    </a:cubicBezTo>
                    <a:lnTo>
                      <a:pt x="948190" y="203362"/>
                    </a:lnTo>
                    <a:cubicBezTo>
                      <a:pt x="657092" y="105282"/>
                      <a:pt x="356281" y="38826"/>
                      <a:pt x="50956" y="5144"/>
                    </a:cubicBezTo>
                    <a:lnTo>
                      <a:pt x="0" y="0"/>
                    </a:lnTo>
                    <a:lnTo>
                      <a:pt x="0" y="48821"/>
                    </a:lnTo>
                    <a:lnTo>
                      <a:pt x="45860" y="53455"/>
                    </a:lnTo>
                    <a:cubicBezTo>
                      <a:pt x="338065" y="85781"/>
                      <a:pt x="626106" y="148471"/>
                      <a:pt x="905315" y="240511"/>
                    </a:cubicBezTo>
                    <a:close/>
                  </a:path>
                </a:pathLst>
              </a:custGeom>
              <a:grpFill/>
              <a:ln w="242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0" name="Freihandform: Form 119">
                <a:extLst>
                  <a:ext uri="{FF2B5EF4-FFF2-40B4-BE49-F238E27FC236}">
                    <a16:creationId xmlns:a16="http://schemas.microsoft.com/office/drawing/2014/main" id="{7E717FDC-EF90-C936-2CE4-0C621DC5A56B}"/>
                  </a:ext>
                </a:extLst>
              </p:cNvPr>
              <p:cNvSpPr/>
              <p:nvPr/>
            </p:nvSpPr>
            <p:spPr>
              <a:xfrm>
                <a:off x="3716686" y="4921446"/>
                <a:ext cx="334267" cy="76709"/>
              </a:xfrm>
              <a:custGeom>
                <a:avLst/>
                <a:gdLst>
                  <a:gd name="connsiteX0" fmla="*/ 563935 w 658203"/>
                  <a:gd name="connsiteY0" fmla="*/ 142846 h 151047"/>
                  <a:gd name="connsiteX1" fmla="*/ 593053 w 658203"/>
                  <a:gd name="connsiteY1" fmla="*/ 149859 h 151047"/>
                  <a:gd name="connsiteX2" fmla="*/ 597153 w 658203"/>
                  <a:gd name="connsiteY2" fmla="*/ 151048 h 151047"/>
                  <a:gd name="connsiteX3" fmla="*/ 658203 w 658203"/>
                  <a:gd name="connsiteY3" fmla="*/ 118217 h 151047"/>
                  <a:gd name="connsiteX4" fmla="*/ 605501 w 658203"/>
                  <a:gd name="connsiteY4" fmla="*/ 102979 h 151047"/>
                  <a:gd name="connsiteX5" fmla="*/ 575291 w 658203"/>
                  <a:gd name="connsiteY5" fmla="*/ 95700 h 151047"/>
                  <a:gd name="connsiteX6" fmla="*/ 50713 w 658203"/>
                  <a:gd name="connsiteY6" fmla="*/ 4610 h 151047"/>
                  <a:gd name="connsiteX7" fmla="*/ 0 w 658203"/>
                  <a:gd name="connsiteY7" fmla="*/ 0 h 151047"/>
                  <a:gd name="connsiteX8" fmla="*/ 0 w 658203"/>
                  <a:gd name="connsiteY8" fmla="*/ 48724 h 151047"/>
                  <a:gd name="connsiteX9" fmla="*/ 45860 w 658203"/>
                  <a:gd name="connsiteY9" fmla="*/ 52873 h 151047"/>
                  <a:gd name="connsiteX10" fmla="*/ 563935 w 658203"/>
                  <a:gd name="connsiteY10" fmla="*/ 142846 h 151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58203" h="151047">
                    <a:moveTo>
                      <a:pt x="563935" y="142846"/>
                    </a:moveTo>
                    <a:lnTo>
                      <a:pt x="593053" y="149859"/>
                    </a:lnTo>
                    <a:lnTo>
                      <a:pt x="597153" y="151048"/>
                    </a:lnTo>
                    <a:cubicBezTo>
                      <a:pt x="617422" y="139934"/>
                      <a:pt x="637773" y="128991"/>
                      <a:pt x="658203" y="118217"/>
                    </a:cubicBezTo>
                    <a:lnTo>
                      <a:pt x="605501" y="102979"/>
                    </a:lnTo>
                    <a:lnTo>
                      <a:pt x="575291" y="95700"/>
                    </a:lnTo>
                    <a:cubicBezTo>
                      <a:pt x="402483" y="54515"/>
                      <a:pt x="227287" y="24095"/>
                      <a:pt x="50713" y="4610"/>
                    </a:cubicBezTo>
                    <a:lnTo>
                      <a:pt x="0" y="0"/>
                    </a:lnTo>
                    <a:lnTo>
                      <a:pt x="0" y="48724"/>
                    </a:lnTo>
                    <a:lnTo>
                      <a:pt x="45860" y="52873"/>
                    </a:lnTo>
                    <a:cubicBezTo>
                      <a:pt x="220243" y="72151"/>
                      <a:pt x="393265" y="102200"/>
                      <a:pt x="563935" y="142846"/>
                    </a:cubicBezTo>
                    <a:close/>
                  </a:path>
                </a:pathLst>
              </a:custGeom>
              <a:grpFill/>
              <a:ln w="242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1" name="Freihandform: Form 120">
                <a:extLst>
                  <a:ext uri="{FF2B5EF4-FFF2-40B4-BE49-F238E27FC236}">
                    <a16:creationId xmlns:a16="http://schemas.microsoft.com/office/drawing/2014/main" id="{E22287AF-8111-9058-A993-FB79A0CE92CE}"/>
                  </a:ext>
                </a:extLst>
              </p:cNvPr>
              <p:cNvSpPr/>
              <p:nvPr/>
            </p:nvSpPr>
            <p:spPr>
              <a:xfrm>
                <a:off x="3716686" y="5042024"/>
                <a:ext cx="191125" cy="43179"/>
              </a:xfrm>
              <a:custGeom>
                <a:avLst/>
                <a:gdLst>
                  <a:gd name="connsiteX0" fmla="*/ 250460 w 376344"/>
                  <a:gd name="connsiteY0" fmla="*/ 77526 h 85023"/>
                  <a:gd name="connsiteX1" fmla="*/ 311122 w 376344"/>
                  <a:gd name="connsiteY1" fmla="*/ 85023 h 85023"/>
                  <a:gd name="connsiteX2" fmla="*/ 376345 w 376344"/>
                  <a:gd name="connsiteY2" fmla="*/ 43288 h 85023"/>
                  <a:gd name="connsiteX3" fmla="*/ 257448 w 376344"/>
                  <a:gd name="connsiteY3" fmla="*/ 29481 h 85023"/>
                  <a:gd name="connsiteX4" fmla="*/ 226753 w 376344"/>
                  <a:gd name="connsiteY4" fmla="*/ 25162 h 85023"/>
                  <a:gd name="connsiteX5" fmla="*/ 50834 w 376344"/>
                  <a:gd name="connsiteY5" fmla="*/ 4586 h 85023"/>
                  <a:gd name="connsiteX6" fmla="*/ 0 w 376344"/>
                  <a:gd name="connsiteY6" fmla="*/ 0 h 85023"/>
                  <a:gd name="connsiteX7" fmla="*/ 0 w 376344"/>
                  <a:gd name="connsiteY7" fmla="*/ 48723 h 85023"/>
                  <a:gd name="connsiteX8" fmla="*/ 46297 w 376344"/>
                  <a:gd name="connsiteY8" fmla="*/ 52897 h 85023"/>
                  <a:gd name="connsiteX9" fmla="*/ 219983 w 376344"/>
                  <a:gd name="connsiteY9" fmla="*/ 73206 h 85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6344" h="85023">
                    <a:moveTo>
                      <a:pt x="250460" y="77526"/>
                    </a:moveTo>
                    <a:cubicBezTo>
                      <a:pt x="265844" y="79734"/>
                      <a:pt x="288725" y="82378"/>
                      <a:pt x="311122" y="85023"/>
                    </a:cubicBezTo>
                    <a:cubicBezTo>
                      <a:pt x="332734" y="70901"/>
                      <a:pt x="354475" y="56990"/>
                      <a:pt x="376345" y="43288"/>
                    </a:cubicBezTo>
                    <a:cubicBezTo>
                      <a:pt x="351619" y="40692"/>
                      <a:pt x="287997" y="33898"/>
                      <a:pt x="257448" y="29481"/>
                    </a:cubicBezTo>
                    <a:lnTo>
                      <a:pt x="226753" y="25162"/>
                    </a:lnTo>
                    <a:cubicBezTo>
                      <a:pt x="174099" y="17737"/>
                      <a:pt x="118242" y="11210"/>
                      <a:pt x="50834" y="4586"/>
                    </a:cubicBezTo>
                    <a:lnTo>
                      <a:pt x="0" y="0"/>
                    </a:lnTo>
                    <a:lnTo>
                      <a:pt x="0" y="48723"/>
                    </a:lnTo>
                    <a:lnTo>
                      <a:pt x="46297" y="52897"/>
                    </a:lnTo>
                    <a:cubicBezTo>
                      <a:pt x="112806" y="59448"/>
                      <a:pt x="168009" y="65903"/>
                      <a:pt x="219983" y="73206"/>
                    </a:cubicBezTo>
                    <a:close/>
                  </a:path>
                </a:pathLst>
              </a:custGeom>
              <a:grpFill/>
              <a:ln w="242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2" name="Freihandform: Form 121">
                <a:extLst>
                  <a:ext uri="{FF2B5EF4-FFF2-40B4-BE49-F238E27FC236}">
                    <a16:creationId xmlns:a16="http://schemas.microsoft.com/office/drawing/2014/main" id="{7DE54699-227C-1FCA-6F2F-01E547F07A3E}"/>
                  </a:ext>
                </a:extLst>
              </p:cNvPr>
              <p:cNvSpPr/>
              <p:nvPr/>
            </p:nvSpPr>
            <p:spPr>
              <a:xfrm>
                <a:off x="4052149" y="4915974"/>
                <a:ext cx="724233" cy="258088"/>
              </a:xfrm>
              <a:custGeom>
                <a:avLst/>
                <a:gdLst>
                  <a:gd name="connsiteX0" fmla="*/ 0 w 1426082"/>
                  <a:gd name="connsiteY0" fmla="*/ 508199 h 508199"/>
                  <a:gd name="connsiteX1" fmla="*/ 102688 w 1426082"/>
                  <a:gd name="connsiteY1" fmla="*/ 508199 h 508199"/>
                  <a:gd name="connsiteX2" fmla="*/ 144278 w 1426082"/>
                  <a:gd name="connsiteY2" fmla="*/ 485900 h 508199"/>
                  <a:gd name="connsiteX3" fmla="*/ 1426083 w 1426082"/>
                  <a:gd name="connsiteY3" fmla="*/ 49136 h 508199"/>
                  <a:gd name="connsiteX4" fmla="*/ 1426083 w 1426082"/>
                  <a:gd name="connsiteY4" fmla="*/ 0 h 508199"/>
                  <a:gd name="connsiteX5" fmla="*/ 121348 w 1426082"/>
                  <a:gd name="connsiteY5" fmla="*/ 443121 h 50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26082" h="508199">
                    <a:moveTo>
                      <a:pt x="0" y="508199"/>
                    </a:moveTo>
                    <a:lnTo>
                      <a:pt x="102688" y="508199"/>
                    </a:lnTo>
                    <a:lnTo>
                      <a:pt x="144278" y="485900"/>
                    </a:lnTo>
                    <a:cubicBezTo>
                      <a:pt x="544659" y="270903"/>
                      <a:pt x="977728" y="123340"/>
                      <a:pt x="1426083" y="49136"/>
                    </a:cubicBezTo>
                    <a:lnTo>
                      <a:pt x="1426083" y="0"/>
                    </a:lnTo>
                    <a:cubicBezTo>
                      <a:pt x="969682" y="74628"/>
                      <a:pt x="528800" y="224363"/>
                      <a:pt x="121348" y="443121"/>
                    </a:cubicBezTo>
                    <a:close/>
                  </a:path>
                </a:pathLst>
              </a:custGeom>
              <a:grpFill/>
              <a:ln w="242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3" name="Freihandform: Form 122">
                <a:extLst>
                  <a:ext uri="{FF2B5EF4-FFF2-40B4-BE49-F238E27FC236}">
                    <a16:creationId xmlns:a16="http://schemas.microsoft.com/office/drawing/2014/main" id="{10219DD1-F534-5588-0195-27A4B1784CDC}"/>
                  </a:ext>
                </a:extLst>
              </p:cNvPr>
              <p:cNvSpPr/>
              <p:nvPr/>
            </p:nvSpPr>
            <p:spPr>
              <a:xfrm>
                <a:off x="4339072" y="5043897"/>
                <a:ext cx="437273" cy="130165"/>
              </a:xfrm>
              <a:custGeom>
                <a:avLst/>
                <a:gdLst>
                  <a:gd name="connsiteX0" fmla="*/ 0 w 861031"/>
                  <a:gd name="connsiteY0" fmla="*/ 256308 h 256307"/>
                  <a:gd name="connsiteX1" fmla="*/ 140323 w 861031"/>
                  <a:gd name="connsiteY1" fmla="*/ 256308 h 256307"/>
                  <a:gd name="connsiteX2" fmla="*/ 330436 w 861031"/>
                  <a:gd name="connsiteY2" fmla="*/ 186280 h 256307"/>
                  <a:gd name="connsiteX3" fmla="*/ 861032 w 861031"/>
                  <a:gd name="connsiteY3" fmla="*/ 49451 h 256307"/>
                  <a:gd name="connsiteX4" fmla="*/ 861032 w 861031"/>
                  <a:gd name="connsiteY4" fmla="*/ 0 h 256307"/>
                  <a:gd name="connsiteX5" fmla="*/ 314422 w 861031"/>
                  <a:gd name="connsiteY5" fmla="*/ 140468 h 25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1031" h="256307">
                    <a:moveTo>
                      <a:pt x="0" y="256308"/>
                    </a:moveTo>
                    <a:lnTo>
                      <a:pt x="140323" y="256308"/>
                    </a:lnTo>
                    <a:lnTo>
                      <a:pt x="330436" y="186280"/>
                    </a:lnTo>
                    <a:cubicBezTo>
                      <a:pt x="504130" y="129154"/>
                      <a:pt x="681374" y="83446"/>
                      <a:pt x="861032" y="49451"/>
                    </a:cubicBezTo>
                    <a:lnTo>
                      <a:pt x="861032" y="0"/>
                    </a:lnTo>
                    <a:cubicBezTo>
                      <a:pt x="675914" y="34643"/>
                      <a:pt x="493306" y="81571"/>
                      <a:pt x="314422" y="140468"/>
                    </a:cubicBezTo>
                    <a:close/>
                  </a:path>
                </a:pathLst>
              </a:custGeom>
              <a:grpFill/>
              <a:ln w="242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4" name="Freihandform: Form 123">
                <a:extLst>
                  <a:ext uri="{FF2B5EF4-FFF2-40B4-BE49-F238E27FC236}">
                    <a16:creationId xmlns:a16="http://schemas.microsoft.com/office/drawing/2014/main" id="{C85CFD78-AA77-A1F7-DDC9-D8B2E0178FD6}"/>
                  </a:ext>
                </a:extLst>
              </p:cNvPr>
              <p:cNvSpPr/>
              <p:nvPr/>
            </p:nvSpPr>
            <p:spPr>
              <a:xfrm>
                <a:off x="3810143" y="4785144"/>
                <a:ext cx="966252" cy="388918"/>
              </a:xfrm>
              <a:custGeom>
                <a:avLst/>
                <a:gdLst>
                  <a:gd name="connsiteX0" fmla="*/ 1902641 w 1902641"/>
                  <a:gd name="connsiteY0" fmla="*/ 0 h 765817"/>
                  <a:gd name="connsiteX1" fmla="*/ 1902641 w 1902641"/>
                  <a:gd name="connsiteY1" fmla="*/ 49014 h 765817"/>
                  <a:gd name="connsiteX2" fmla="*/ 1640777 w 1902641"/>
                  <a:gd name="connsiteY2" fmla="*/ 95117 h 765817"/>
                  <a:gd name="connsiteX3" fmla="*/ 1592247 w 1902641"/>
                  <a:gd name="connsiteY3" fmla="*/ 105308 h 765817"/>
                  <a:gd name="connsiteX4" fmla="*/ 84587 w 1902641"/>
                  <a:gd name="connsiteY4" fmla="*/ 765817 h 765817"/>
                  <a:gd name="connsiteX5" fmla="*/ 0 w 1902641"/>
                  <a:gd name="connsiteY5" fmla="*/ 765817 h 765817"/>
                  <a:gd name="connsiteX6" fmla="*/ 19679 w 1902641"/>
                  <a:gd name="connsiteY6" fmla="*/ 751598 h 765817"/>
                  <a:gd name="connsiteX7" fmla="*/ 1538404 w 1902641"/>
                  <a:gd name="connsiteY7" fmla="*/ 68014 h 765817"/>
                  <a:gd name="connsiteX8" fmla="*/ 1538404 w 1902641"/>
                  <a:gd name="connsiteY8" fmla="*/ 67450 h 765817"/>
                  <a:gd name="connsiteX9" fmla="*/ 1595234 w 1902641"/>
                  <a:gd name="connsiteY9" fmla="*/ 55371 h 765817"/>
                  <a:gd name="connsiteX10" fmla="*/ 1595166 w 1902641"/>
                  <a:gd name="connsiteY10" fmla="*/ 55052 h 765817"/>
                  <a:gd name="connsiteX11" fmla="*/ 1630731 w 1902641"/>
                  <a:gd name="connsiteY11" fmla="*/ 47583 h 765817"/>
                  <a:gd name="connsiteX12" fmla="*/ 1902641 w 1902641"/>
                  <a:gd name="connsiteY12" fmla="*/ 0 h 765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02641" h="765817">
                    <a:moveTo>
                      <a:pt x="1902641" y="0"/>
                    </a:moveTo>
                    <a:lnTo>
                      <a:pt x="1902641" y="49014"/>
                    </a:lnTo>
                    <a:cubicBezTo>
                      <a:pt x="1818297" y="61147"/>
                      <a:pt x="1730556" y="76433"/>
                      <a:pt x="1640777" y="95117"/>
                    </a:cubicBezTo>
                    <a:lnTo>
                      <a:pt x="1592247" y="105308"/>
                    </a:lnTo>
                    <a:cubicBezTo>
                      <a:pt x="1051145" y="224181"/>
                      <a:pt x="538809" y="448634"/>
                      <a:pt x="84587" y="765817"/>
                    </a:cubicBezTo>
                    <a:lnTo>
                      <a:pt x="0" y="765817"/>
                    </a:lnTo>
                    <a:lnTo>
                      <a:pt x="19679" y="751598"/>
                    </a:lnTo>
                    <a:cubicBezTo>
                      <a:pt x="476022" y="426044"/>
                      <a:pt x="992122" y="193746"/>
                      <a:pt x="1538404" y="68014"/>
                    </a:cubicBezTo>
                    <a:lnTo>
                      <a:pt x="1538404" y="67450"/>
                    </a:lnTo>
                    <a:lnTo>
                      <a:pt x="1595234" y="55371"/>
                    </a:lnTo>
                    <a:lnTo>
                      <a:pt x="1595166" y="55052"/>
                    </a:lnTo>
                    <a:lnTo>
                      <a:pt x="1630731" y="47583"/>
                    </a:lnTo>
                    <a:cubicBezTo>
                      <a:pt x="1724053" y="28171"/>
                      <a:pt x="1815143" y="12350"/>
                      <a:pt x="1902641" y="0"/>
                    </a:cubicBezTo>
                    <a:close/>
                  </a:path>
                </a:pathLst>
              </a:custGeom>
              <a:grpFill/>
              <a:ln w="242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pic>
            <p:nvPicPr>
              <p:cNvPr id="125" name="Grafik 124" descr="Pflanze Silhouette">
                <a:extLst>
                  <a:ext uri="{FF2B5EF4-FFF2-40B4-BE49-F238E27FC236}">
                    <a16:creationId xmlns:a16="http://schemas.microsoft.com/office/drawing/2014/main" id="{D5CB7976-5C6E-3CFA-6F26-2A5449969D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4464344" y="4522126"/>
                <a:ext cx="377540" cy="377539"/>
              </a:xfrm>
              <a:custGeom>
                <a:avLst/>
                <a:gdLst>
                  <a:gd name="connsiteX0" fmla="*/ 0 w 1105272"/>
                  <a:gd name="connsiteY0" fmla="*/ 0 h 1105272"/>
                  <a:gd name="connsiteX1" fmla="*/ 1105272 w 1105272"/>
                  <a:gd name="connsiteY1" fmla="*/ 0 h 1105272"/>
                  <a:gd name="connsiteX2" fmla="*/ 1105272 w 1105272"/>
                  <a:gd name="connsiteY2" fmla="*/ 857311 h 1105272"/>
                  <a:gd name="connsiteX3" fmla="*/ 196754 w 1105272"/>
                  <a:gd name="connsiteY3" fmla="*/ 857311 h 1105272"/>
                  <a:gd name="connsiteX4" fmla="*/ 196754 w 1105272"/>
                  <a:gd name="connsiteY4" fmla="*/ 1037311 h 1105272"/>
                  <a:gd name="connsiteX5" fmla="*/ 1105272 w 1105272"/>
                  <a:gd name="connsiteY5" fmla="*/ 1037311 h 1105272"/>
                  <a:gd name="connsiteX6" fmla="*/ 1105272 w 1105272"/>
                  <a:gd name="connsiteY6" fmla="*/ 1105272 h 1105272"/>
                  <a:gd name="connsiteX7" fmla="*/ 0 w 1105272"/>
                  <a:gd name="connsiteY7" fmla="*/ 1105272 h 1105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05272" h="1105272">
                    <a:moveTo>
                      <a:pt x="0" y="0"/>
                    </a:moveTo>
                    <a:lnTo>
                      <a:pt x="1105272" y="0"/>
                    </a:lnTo>
                    <a:lnTo>
                      <a:pt x="1105272" y="857311"/>
                    </a:lnTo>
                    <a:lnTo>
                      <a:pt x="196754" y="857311"/>
                    </a:lnTo>
                    <a:lnTo>
                      <a:pt x="196754" y="1037311"/>
                    </a:lnTo>
                    <a:lnTo>
                      <a:pt x="1105272" y="1037311"/>
                    </a:lnTo>
                    <a:lnTo>
                      <a:pt x="1105272" y="1105272"/>
                    </a:lnTo>
                    <a:lnTo>
                      <a:pt x="0" y="1105272"/>
                    </a:lnTo>
                    <a:close/>
                  </a:path>
                </a:pathLst>
              </a:custGeom>
            </p:spPr>
          </p:pic>
        </p:grpSp>
      </p:grp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FDD2C8B8-C640-F8FB-7081-4AD339F500FE}"/>
              </a:ext>
            </a:extLst>
          </p:cNvPr>
          <p:cNvGrpSpPr/>
          <p:nvPr/>
        </p:nvGrpSpPr>
        <p:grpSpPr>
          <a:xfrm>
            <a:off x="4391571" y="3776417"/>
            <a:ext cx="1332000" cy="1332000"/>
            <a:chOff x="2043895" y="4399166"/>
            <a:chExt cx="1332000" cy="1332000"/>
          </a:xfrm>
        </p:grpSpPr>
        <p:sp>
          <p:nvSpPr>
            <p:cNvPr id="126" name="Graphic 8">
              <a:extLst>
                <a:ext uri="{FF2B5EF4-FFF2-40B4-BE49-F238E27FC236}">
                  <a16:creationId xmlns:a16="http://schemas.microsoft.com/office/drawing/2014/main" id="{22E419F8-DA5B-E60F-92F1-0607A6648EAA}"/>
                </a:ext>
              </a:extLst>
            </p:cNvPr>
            <p:cNvSpPr/>
            <p:nvPr/>
          </p:nvSpPr>
          <p:spPr>
            <a:xfrm>
              <a:off x="2043895" y="4399166"/>
              <a:ext cx="1332000" cy="1332000"/>
            </a:xfrm>
            <a:custGeom>
              <a:avLst/>
              <a:gdLst>
                <a:gd name="connsiteX0" fmla="*/ 749311 w 749310"/>
                <a:gd name="connsiteY0" fmla="*/ 214804 h 858552"/>
                <a:gd name="connsiteX1" fmla="*/ 374655 w 749310"/>
                <a:gd name="connsiteY1" fmla="*/ 0 h 858552"/>
                <a:gd name="connsiteX2" fmla="*/ 0 w 749310"/>
                <a:gd name="connsiteY2" fmla="*/ 214804 h 858552"/>
                <a:gd name="connsiteX3" fmla="*/ 0 w 749310"/>
                <a:gd name="connsiteY3" fmla="*/ 643748 h 858552"/>
                <a:gd name="connsiteX4" fmla="*/ 374655 w 749310"/>
                <a:gd name="connsiteY4" fmla="*/ 858552 h 858552"/>
                <a:gd name="connsiteX5" fmla="*/ 749311 w 749310"/>
                <a:gd name="connsiteY5" fmla="*/ 643748 h 858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9310" h="858552">
                  <a:moveTo>
                    <a:pt x="749311" y="214804"/>
                  </a:moveTo>
                  <a:lnTo>
                    <a:pt x="374655" y="0"/>
                  </a:lnTo>
                  <a:lnTo>
                    <a:pt x="0" y="214804"/>
                  </a:lnTo>
                  <a:lnTo>
                    <a:pt x="0" y="643748"/>
                  </a:lnTo>
                  <a:lnTo>
                    <a:pt x="374655" y="858552"/>
                  </a:lnTo>
                  <a:lnTo>
                    <a:pt x="749311" y="643748"/>
                  </a:lnTo>
                  <a:close/>
                </a:path>
              </a:pathLst>
            </a:custGeom>
            <a:noFill/>
            <a:ln w="6633" cap="flat">
              <a:solidFill>
                <a:srgbClr val="7AB5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BR"/>
            </a:p>
          </p:txBody>
        </p:sp>
        <p:pic>
          <p:nvPicPr>
            <p:cNvPr id="128" name="Grafik 127" descr="Windkraftanlagen mit einfarbiger Füllung">
              <a:extLst>
                <a:ext uri="{FF2B5EF4-FFF2-40B4-BE49-F238E27FC236}">
                  <a16:creationId xmlns:a16="http://schemas.microsoft.com/office/drawing/2014/main" id="{E85EEC1D-FB46-08E8-4023-4DCCEB8F90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 flipH="1">
              <a:off x="2156497" y="4688384"/>
              <a:ext cx="445353" cy="49790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29" name="Grafik 128" descr="Solarmodule mit einfarbiger Füllung">
              <a:extLst>
                <a:ext uri="{FF2B5EF4-FFF2-40B4-BE49-F238E27FC236}">
                  <a16:creationId xmlns:a16="http://schemas.microsoft.com/office/drawing/2014/main" id="{D90A4FA8-D63A-A6C8-E320-22AF607B391C}"/>
                </a:ext>
              </a:extLst>
            </p:cNvPr>
            <p:cNvPicPr>
              <a:picLocks/>
            </p:cNvPicPr>
            <p:nvPr/>
          </p:nvPicPr>
          <p:blipFill rotWithShape="1"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rcRect l="9442" t="26769"/>
            <a:stretch/>
          </p:blipFill>
          <p:spPr>
            <a:xfrm flipH="1">
              <a:off x="2737772" y="4669166"/>
              <a:ext cx="438004" cy="396000"/>
            </a:xfrm>
            <a:prstGeom prst="trapezoid">
              <a:avLst/>
            </a:prstGeom>
            <a:noFill/>
            <a:ln>
              <a:noFill/>
            </a:ln>
          </p:spPr>
        </p:pic>
        <p:pic>
          <p:nvPicPr>
            <p:cNvPr id="131" name="Grafik 130" descr="Kraftstoff mit einfarbiger Füllung">
              <a:extLst>
                <a:ext uri="{FF2B5EF4-FFF2-40B4-BE49-F238E27FC236}">
                  <a16:creationId xmlns:a16="http://schemas.microsoft.com/office/drawing/2014/main" id="{3DF06C87-586F-432F-BA94-7BA09101EA4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2545365" y="5029068"/>
              <a:ext cx="522230" cy="522230"/>
            </a:xfrm>
            <a:prstGeom prst="rect">
              <a:avLst/>
            </a:prstGeom>
          </p:spPr>
        </p:pic>
      </p:grpSp>
      <p:sp>
        <p:nvSpPr>
          <p:cNvPr id="141" name="Freihandform: Form 140">
            <a:extLst>
              <a:ext uri="{FF2B5EF4-FFF2-40B4-BE49-F238E27FC236}">
                <a16:creationId xmlns:a16="http://schemas.microsoft.com/office/drawing/2014/main" id="{5517661E-B743-D7E9-C36A-9AEB80A34636}"/>
              </a:ext>
            </a:extLst>
          </p:cNvPr>
          <p:cNvSpPr/>
          <p:nvPr/>
        </p:nvSpPr>
        <p:spPr>
          <a:xfrm rot="10800000">
            <a:off x="6584104" y="3385161"/>
            <a:ext cx="1190861" cy="644995"/>
          </a:xfrm>
          <a:custGeom>
            <a:avLst/>
            <a:gdLst>
              <a:gd name="connsiteX0" fmla="*/ 1073849 w 1190861"/>
              <a:gd name="connsiteY0" fmla="*/ 644995 h 644995"/>
              <a:gd name="connsiteX1" fmla="*/ 104764 w 1190861"/>
              <a:gd name="connsiteY1" fmla="*/ 644995 h 644995"/>
              <a:gd name="connsiteX2" fmla="*/ 104764 w 1190861"/>
              <a:gd name="connsiteY2" fmla="*/ 314240 h 644995"/>
              <a:gd name="connsiteX3" fmla="*/ 0 w 1190861"/>
              <a:gd name="connsiteY3" fmla="*/ 314240 h 644995"/>
              <a:gd name="connsiteX4" fmla="*/ 595431 w 1190861"/>
              <a:gd name="connsiteY4" fmla="*/ 0 h 644995"/>
              <a:gd name="connsiteX5" fmla="*/ 1190861 w 1190861"/>
              <a:gd name="connsiteY5" fmla="*/ 314240 h 644995"/>
              <a:gd name="connsiteX6" fmla="*/ 1073849 w 1190861"/>
              <a:gd name="connsiteY6" fmla="*/ 314240 h 644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0861" h="644995">
                <a:moveTo>
                  <a:pt x="1073849" y="644995"/>
                </a:moveTo>
                <a:lnTo>
                  <a:pt x="104764" y="644995"/>
                </a:lnTo>
                <a:lnTo>
                  <a:pt x="104764" y="314240"/>
                </a:lnTo>
                <a:lnTo>
                  <a:pt x="0" y="314240"/>
                </a:lnTo>
                <a:lnTo>
                  <a:pt x="595431" y="0"/>
                </a:lnTo>
                <a:lnTo>
                  <a:pt x="1190861" y="314240"/>
                </a:lnTo>
                <a:lnTo>
                  <a:pt x="1073849" y="314240"/>
                </a:lnTo>
                <a:close/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524B06E4-F361-5366-2B5B-6A770DE8FE95}"/>
              </a:ext>
            </a:extLst>
          </p:cNvPr>
          <p:cNvSpPr txBox="1"/>
          <p:nvPr/>
        </p:nvSpPr>
        <p:spPr>
          <a:xfrm>
            <a:off x="5774553" y="5153714"/>
            <a:ext cx="15245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>
                <a:solidFill>
                  <a:srgbClr val="FAAF00"/>
                </a:solidFill>
              </a:rPr>
              <a:t>Industrielösungen</a:t>
            </a:r>
          </a:p>
        </p:txBody>
      </p:sp>
      <p:sp>
        <p:nvSpPr>
          <p:cNvPr id="143" name="Textfeld 142">
            <a:extLst>
              <a:ext uri="{FF2B5EF4-FFF2-40B4-BE49-F238E27FC236}">
                <a16:creationId xmlns:a16="http://schemas.microsoft.com/office/drawing/2014/main" id="{766DE970-C983-347F-52C5-E185310138A8}"/>
              </a:ext>
            </a:extLst>
          </p:cNvPr>
          <p:cNvSpPr txBox="1"/>
          <p:nvPr/>
        </p:nvSpPr>
        <p:spPr>
          <a:xfrm>
            <a:off x="7254877" y="5159775"/>
            <a:ext cx="17148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>
                <a:solidFill>
                  <a:srgbClr val="00A7DC"/>
                </a:solidFill>
              </a:rPr>
              <a:t>Dienstleistungen</a:t>
            </a:r>
          </a:p>
        </p:txBody>
      </p:sp>
      <p:sp>
        <p:nvSpPr>
          <p:cNvPr id="144" name="Textfeld 143">
            <a:extLst>
              <a:ext uri="{FF2B5EF4-FFF2-40B4-BE49-F238E27FC236}">
                <a16:creationId xmlns:a16="http://schemas.microsoft.com/office/drawing/2014/main" id="{590EC19D-83DA-0570-8A86-1289CAC9E7A5}"/>
              </a:ext>
            </a:extLst>
          </p:cNvPr>
          <p:cNvSpPr txBox="1"/>
          <p:nvPr/>
        </p:nvSpPr>
        <p:spPr>
          <a:xfrm>
            <a:off x="8554225" y="5168042"/>
            <a:ext cx="16674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>
                <a:solidFill>
                  <a:schemeClr val="accent1"/>
                </a:solidFill>
              </a:rPr>
              <a:t>Recycling/Verwertung</a:t>
            </a:r>
          </a:p>
        </p:txBody>
      </p:sp>
      <p:sp>
        <p:nvSpPr>
          <p:cNvPr id="145" name="Textfeld 144">
            <a:extLst>
              <a:ext uri="{FF2B5EF4-FFF2-40B4-BE49-F238E27FC236}">
                <a16:creationId xmlns:a16="http://schemas.microsoft.com/office/drawing/2014/main" id="{4ED16966-31FD-3166-FD2D-12B367A096C4}"/>
              </a:ext>
            </a:extLst>
          </p:cNvPr>
          <p:cNvSpPr txBox="1"/>
          <p:nvPr/>
        </p:nvSpPr>
        <p:spPr>
          <a:xfrm>
            <a:off x="4714585" y="5134126"/>
            <a:ext cx="8537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>
                <a:solidFill>
                  <a:schemeClr val="accent1"/>
                </a:solidFill>
              </a:rPr>
              <a:t>Energie</a:t>
            </a:r>
          </a:p>
        </p:txBody>
      </p:sp>
      <p:sp>
        <p:nvSpPr>
          <p:cNvPr id="146" name="Textfeld 145">
            <a:extLst>
              <a:ext uri="{FF2B5EF4-FFF2-40B4-BE49-F238E27FC236}">
                <a16:creationId xmlns:a16="http://schemas.microsoft.com/office/drawing/2014/main" id="{1ABEB521-F5CA-287B-0556-77BB2771151C}"/>
              </a:ext>
            </a:extLst>
          </p:cNvPr>
          <p:cNvSpPr txBox="1"/>
          <p:nvPr/>
        </p:nvSpPr>
        <p:spPr>
          <a:xfrm>
            <a:off x="4149830" y="5502846"/>
            <a:ext cx="16684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/>
              <a:t>z.B. Elektrolyseur</a:t>
            </a:r>
          </a:p>
        </p:txBody>
      </p:sp>
      <p:sp>
        <p:nvSpPr>
          <p:cNvPr id="147" name="Textfeld 146">
            <a:extLst>
              <a:ext uri="{FF2B5EF4-FFF2-40B4-BE49-F238E27FC236}">
                <a16:creationId xmlns:a16="http://schemas.microsoft.com/office/drawing/2014/main" id="{5BC2D8CC-7497-C2A8-F74C-3E197F070428}"/>
              </a:ext>
            </a:extLst>
          </p:cNvPr>
          <p:cNvSpPr txBox="1"/>
          <p:nvPr/>
        </p:nvSpPr>
        <p:spPr>
          <a:xfrm>
            <a:off x="5622327" y="5503240"/>
            <a:ext cx="16684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de-DE" sz="1200"/>
              <a:t>z.B. Train Service</a:t>
            </a:r>
          </a:p>
        </p:txBody>
      </p:sp>
      <p:sp>
        <p:nvSpPr>
          <p:cNvPr id="148" name="Textfeld 147">
            <a:extLst>
              <a:ext uri="{FF2B5EF4-FFF2-40B4-BE49-F238E27FC236}">
                <a16:creationId xmlns:a16="http://schemas.microsoft.com/office/drawing/2014/main" id="{71AD80FE-99E2-96EC-0438-0315618AFCC1}"/>
              </a:ext>
            </a:extLst>
          </p:cNvPr>
          <p:cNvSpPr txBox="1"/>
          <p:nvPr/>
        </p:nvSpPr>
        <p:spPr>
          <a:xfrm>
            <a:off x="7094824" y="5494087"/>
            <a:ext cx="1714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de-DE" sz="1200"/>
              <a:t>z.B. bergbaunahe Ingenieurleistungen</a:t>
            </a:r>
          </a:p>
        </p:txBody>
      </p:sp>
      <p:sp>
        <p:nvSpPr>
          <p:cNvPr id="149" name="Textfeld 148">
            <a:extLst>
              <a:ext uri="{FF2B5EF4-FFF2-40B4-BE49-F238E27FC236}">
                <a16:creationId xmlns:a16="http://schemas.microsoft.com/office/drawing/2014/main" id="{9DE82FD1-DE2E-4399-836A-0D7C35012651}"/>
              </a:ext>
            </a:extLst>
          </p:cNvPr>
          <p:cNvSpPr txBox="1"/>
          <p:nvPr/>
        </p:nvSpPr>
        <p:spPr>
          <a:xfrm>
            <a:off x="8581497" y="5484244"/>
            <a:ext cx="18633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200"/>
              <a:t>z.B. Bodenentsorgu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D6F534-29C5-85A6-0A80-85D20F772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</a:p>
        </p:txBody>
      </p:sp>
    </p:spTree>
    <p:extLst>
      <p:ext uri="{BB962C8B-B14F-4D97-AF65-F5344CB8AC3E}">
        <p14:creationId xmlns:p14="http://schemas.microsoft.com/office/powerpoint/2010/main" val="34960506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6" name="Objekt 1085" hidden="1">
            <a:extLst>
              <a:ext uri="{FF2B5EF4-FFF2-40B4-BE49-F238E27FC236}">
                <a16:creationId xmlns:a16="http://schemas.microsoft.com/office/drawing/2014/main" id="{3907B310-5B00-FE15-643A-576E68D4F4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764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1086" name="Objekt 1085" hidden="1">
                        <a:extLst>
                          <a:ext uri="{FF2B5EF4-FFF2-40B4-BE49-F238E27FC236}">
                            <a16:creationId xmlns:a16="http://schemas.microsoft.com/office/drawing/2014/main" id="{3907B310-5B00-FE15-643A-576E68D4F4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3F403C8-ACB4-CAE2-1BDC-533436FAD7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000" y="180000"/>
            <a:ext cx="10740536" cy="718145"/>
          </a:xfrm>
        </p:spPr>
        <p:txBody>
          <a:bodyPr vert="horz"/>
          <a:lstStyle/>
          <a:p>
            <a:r>
              <a:rPr lang="de-DE" dirty="0"/>
              <a:t>MIBRAG Energy Group</a:t>
            </a:r>
            <a:br>
              <a:rPr lang="de-DE" dirty="0"/>
            </a:br>
            <a:r>
              <a:rPr lang="de-DE" sz="2000" dirty="0"/>
              <a:t>Ausrichtung auf vier Geschäftsfelder mit Wachstumspotenzial und Beschäftigungsperspektive für unterschiedliche Berufsgrupp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E3947E9-E24D-F002-5408-7F3566B5DA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11</a:t>
            </a:fld>
            <a:endParaRPr lang="de-DE"/>
          </a:p>
        </p:txBody>
      </p:sp>
      <p:grpSp>
        <p:nvGrpSpPr>
          <p:cNvPr id="22" name="Gruppieren 85">
            <a:extLst>
              <a:ext uri="{FF2B5EF4-FFF2-40B4-BE49-F238E27FC236}">
                <a16:creationId xmlns:a16="http://schemas.microsoft.com/office/drawing/2014/main" id="{931A8CEE-DF9F-9B50-B58D-B5BC48BF8AF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495600" y="1391457"/>
            <a:ext cx="7293928" cy="4762007"/>
            <a:chOff x="839955" y="2161543"/>
            <a:chExt cx="3365513" cy="2197244"/>
          </a:xfrm>
          <a:solidFill>
            <a:schemeClr val="bg1">
              <a:lumMod val="85000"/>
            </a:schemeClr>
          </a:solidFill>
        </p:grpSpPr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678DCEC2-CBD9-E673-F2BE-8FD214DA3049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9955" y="2161543"/>
              <a:ext cx="1852612" cy="1522412"/>
            </a:xfrm>
            <a:custGeom>
              <a:avLst/>
              <a:gdLst>
                <a:gd name="T0" fmla="*/ 2147483647 w 119"/>
                <a:gd name="T1" fmla="*/ 2147483647 h 106"/>
                <a:gd name="T2" fmla="*/ 2147483647 w 119"/>
                <a:gd name="T3" fmla="*/ 2147483647 h 106"/>
                <a:gd name="T4" fmla="*/ 2147483647 w 119"/>
                <a:gd name="T5" fmla="*/ 2147483647 h 106"/>
                <a:gd name="T6" fmla="*/ 2147483647 w 119"/>
                <a:gd name="T7" fmla="*/ 2147483647 h 106"/>
                <a:gd name="T8" fmla="*/ 2147483647 w 119"/>
                <a:gd name="T9" fmla="*/ 2147483647 h 106"/>
                <a:gd name="T10" fmla="*/ 2147483647 w 119"/>
                <a:gd name="T11" fmla="*/ 2147483647 h 106"/>
                <a:gd name="T12" fmla="*/ 2147483647 w 119"/>
                <a:gd name="T13" fmla="*/ 2147483647 h 106"/>
                <a:gd name="T14" fmla="*/ 2147483647 w 119"/>
                <a:gd name="T15" fmla="*/ 2147483647 h 106"/>
                <a:gd name="T16" fmla="*/ 2147483647 w 119"/>
                <a:gd name="T17" fmla="*/ 2147483647 h 106"/>
                <a:gd name="T18" fmla="*/ 2147483647 w 119"/>
                <a:gd name="T19" fmla="*/ 2147483647 h 106"/>
                <a:gd name="T20" fmla="*/ 2147483647 w 119"/>
                <a:gd name="T21" fmla="*/ 2147483647 h 106"/>
                <a:gd name="T22" fmla="*/ 2147483647 w 119"/>
                <a:gd name="T23" fmla="*/ 2147483647 h 106"/>
                <a:gd name="T24" fmla="*/ 2147483647 w 119"/>
                <a:gd name="T25" fmla="*/ 2147483647 h 106"/>
                <a:gd name="T26" fmla="*/ 2147483647 w 119"/>
                <a:gd name="T27" fmla="*/ 2147483647 h 106"/>
                <a:gd name="T28" fmla="*/ 2147483647 w 119"/>
                <a:gd name="T29" fmla="*/ 2147483647 h 106"/>
                <a:gd name="T30" fmla="*/ 2147483647 w 119"/>
                <a:gd name="T31" fmla="*/ 2147483647 h 106"/>
                <a:gd name="T32" fmla="*/ 2147483647 w 119"/>
                <a:gd name="T33" fmla="*/ 2147483647 h 106"/>
                <a:gd name="T34" fmla="*/ 2147483647 w 119"/>
                <a:gd name="T35" fmla="*/ 2147483647 h 106"/>
                <a:gd name="T36" fmla="*/ 2147483647 w 119"/>
                <a:gd name="T37" fmla="*/ 2147483647 h 106"/>
                <a:gd name="T38" fmla="*/ 2147483647 w 119"/>
                <a:gd name="T39" fmla="*/ 2147483647 h 106"/>
                <a:gd name="T40" fmla="*/ 2147483647 w 119"/>
                <a:gd name="T41" fmla="*/ 2147483647 h 106"/>
                <a:gd name="T42" fmla="*/ 2147483647 w 119"/>
                <a:gd name="T43" fmla="*/ 2147483647 h 106"/>
                <a:gd name="T44" fmla="*/ 2147483647 w 119"/>
                <a:gd name="T45" fmla="*/ 2147483647 h 106"/>
                <a:gd name="T46" fmla="*/ 2147483647 w 119"/>
                <a:gd name="T47" fmla="*/ 2147483647 h 106"/>
                <a:gd name="T48" fmla="*/ 2147483647 w 119"/>
                <a:gd name="T49" fmla="*/ 2147483647 h 106"/>
                <a:gd name="T50" fmla="*/ 2147483647 w 119"/>
                <a:gd name="T51" fmla="*/ 2147483647 h 106"/>
                <a:gd name="T52" fmla="*/ 2147483647 w 119"/>
                <a:gd name="T53" fmla="*/ 2147483647 h 106"/>
                <a:gd name="T54" fmla="*/ 2147483647 w 119"/>
                <a:gd name="T55" fmla="*/ 2147483647 h 106"/>
                <a:gd name="T56" fmla="*/ 2147483647 w 119"/>
                <a:gd name="T57" fmla="*/ 2147483647 h 106"/>
                <a:gd name="T58" fmla="*/ 2147483647 w 119"/>
                <a:gd name="T59" fmla="*/ 2147483647 h 106"/>
                <a:gd name="T60" fmla="*/ 2147483647 w 119"/>
                <a:gd name="T61" fmla="*/ 2147483647 h 106"/>
                <a:gd name="T62" fmla="*/ 2147483647 w 119"/>
                <a:gd name="T63" fmla="*/ 2147483647 h 106"/>
                <a:gd name="T64" fmla="*/ 2147483647 w 119"/>
                <a:gd name="T65" fmla="*/ 2147483647 h 106"/>
                <a:gd name="T66" fmla="*/ 2147483647 w 119"/>
                <a:gd name="T67" fmla="*/ 2147483647 h 106"/>
                <a:gd name="T68" fmla="*/ 2147483647 w 119"/>
                <a:gd name="T69" fmla="*/ 2147483647 h 106"/>
                <a:gd name="T70" fmla="*/ 2147483647 w 119"/>
                <a:gd name="T71" fmla="*/ 2147483647 h 106"/>
                <a:gd name="T72" fmla="*/ 2147483647 w 119"/>
                <a:gd name="T73" fmla="*/ 2147483647 h 106"/>
                <a:gd name="T74" fmla="*/ 2147483647 w 119"/>
                <a:gd name="T75" fmla="*/ 2147483647 h 106"/>
                <a:gd name="T76" fmla="*/ 2147483647 w 119"/>
                <a:gd name="T77" fmla="*/ 2147483647 h 106"/>
                <a:gd name="T78" fmla="*/ 2147483647 w 119"/>
                <a:gd name="T79" fmla="*/ 2147483647 h 106"/>
                <a:gd name="T80" fmla="*/ 2147483647 w 119"/>
                <a:gd name="T81" fmla="*/ 2147483647 h 106"/>
                <a:gd name="T82" fmla="*/ 2147483647 w 119"/>
                <a:gd name="T83" fmla="*/ 2147483647 h 106"/>
                <a:gd name="T84" fmla="*/ 2147483647 w 119"/>
                <a:gd name="T85" fmla="*/ 2147483647 h 106"/>
                <a:gd name="T86" fmla="*/ 2147483647 w 119"/>
                <a:gd name="T87" fmla="*/ 2147483647 h 106"/>
                <a:gd name="T88" fmla="*/ 2147483647 w 119"/>
                <a:gd name="T89" fmla="*/ 2147483647 h 106"/>
                <a:gd name="T90" fmla="*/ 2147483647 w 119"/>
                <a:gd name="T91" fmla="*/ 2147483647 h 106"/>
                <a:gd name="T92" fmla="*/ 2147483647 w 119"/>
                <a:gd name="T93" fmla="*/ 2147483647 h 106"/>
                <a:gd name="T94" fmla="*/ 2147483647 w 119"/>
                <a:gd name="T95" fmla="*/ 2147483647 h 106"/>
                <a:gd name="T96" fmla="*/ 2147483647 w 119"/>
                <a:gd name="T97" fmla="*/ 2147483647 h 106"/>
                <a:gd name="T98" fmla="*/ 2147483647 w 119"/>
                <a:gd name="T99" fmla="*/ 2147483647 h 106"/>
                <a:gd name="T100" fmla="*/ 2147483647 w 119"/>
                <a:gd name="T101" fmla="*/ 2147483647 h 106"/>
                <a:gd name="T102" fmla="*/ 2147483647 w 119"/>
                <a:gd name="T103" fmla="*/ 2147483647 h 106"/>
                <a:gd name="T104" fmla="*/ 2147483647 w 119"/>
                <a:gd name="T105" fmla="*/ 2147483647 h 106"/>
                <a:gd name="T106" fmla="*/ 2147483647 w 119"/>
                <a:gd name="T107" fmla="*/ 2147483647 h 106"/>
                <a:gd name="T108" fmla="*/ 2147483647 w 119"/>
                <a:gd name="T109" fmla="*/ 2147483647 h 106"/>
                <a:gd name="T110" fmla="*/ 2147483647 w 119"/>
                <a:gd name="T111" fmla="*/ 2147483647 h 106"/>
                <a:gd name="T112" fmla="*/ 2147483647 w 119"/>
                <a:gd name="T113" fmla="*/ 2147483647 h 106"/>
                <a:gd name="T114" fmla="*/ 2147483647 w 119"/>
                <a:gd name="T115" fmla="*/ 2147483647 h 106"/>
                <a:gd name="T116" fmla="*/ 2147483647 w 119"/>
                <a:gd name="T117" fmla="*/ 2147483647 h 10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9"/>
                <a:gd name="T178" fmla="*/ 0 h 106"/>
                <a:gd name="T179" fmla="*/ 119 w 119"/>
                <a:gd name="T180" fmla="*/ 106 h 10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9" h="106">
                  <a:moveTo>
                    <a:pt x="45" y="14"/>
                  </a:moveTo>
                  <a:lnTo>
                    <a:pt x="43" y="14"/>
                  </a:lnTo>
                  <a:lnTo>
                    <a:pt x="41" y="12"/>
                  </a:lnTo>
                  <a:lnTo>
                    <a:pt x="39" y="11"/>
                  </a:lnTo>
                  <a:lnTo>
                    <a:pt x="38" y="12"/>
                  </a:lnTo>
                  <a:lnTo>
                    <a:pt x="38" y="14"/>
                  </a:lnTo>
                  <a:lnTo>
                    <a:pt x="39" y="15"/>
                  </a:lnTo>
                  <a:lnTo>
                    <a:pt x="39" y="16"/>
                  </a:lnTo>
                  <a:lnTo>
                    <a:pt x="38" y="19"/>
                  </a:lnTo>
                  <a:lnTo>
                    <a:pt x="36" y="18"/>
                  </a:lnTo>
                  <a:lnTo>
                    <a:pt x="35" y="18"/>
                  </a:lnTo>
                  <a:lnTo>
                    <a:pt x="34" y="16"/>
                  </a:lnTo>
                  <a:lnTo>
                    <a:pt x="36" y="14"/>
                  </a:lnTo>
                  <a:lnTo>
                    <a:pt x="34" y="11"/>
                  </a:lnTo>
                  <a:lnTo>
                    <a:pt x="32" y="7"/>
                  </a:lnTo>
                  <a:lnTo>
                    <a:pt x="31" y="7"/>
                  </a:lnTo>
                  <a:lnTo>
                    <a:pt x="24" y="8"/>
                  </a:lnTo>
                  <a:lnTo>
                    <a:pt x="19" y="8"/>
                  </a:lnTo>
                  <a:lnTo>
                    <a:pt x="15" y="8"/>
                  </a:lnTo>
                  <a:lnTo>
                    <a:pt x="10" y="12"/>
                  </a:lnTo>
                  <a:lnTo>
                    <a:pt x="11" y="14"/>
                  </a:lnTo>
                  <a:lnTo>
                    <a:pt x="9" y="15"/>
                  </a:lnTo>
                  <a:lnTo>
                    <a:pt x="8" y="20"/>
                  </a:lnTo>
                  <a:lnTo>
                    <a:pt x="9" y="21"/>
                  </a:lnTo>
                  <a:lnTo>
                    <a:pt x="12" y="22"/>
                  </a:lnTo>
                  <a:lnTo>
                    <a:pt x="13" y="22"/>
                  </a:lnTo>
                  <a:lnTo>
                    <a:pt x="13" y="24"/>
                  </a:lnTo>
                  <a:lnTo>
                    <a:pt x="12" y="26"/>
                  </a:lnTo>
                  <a:lnTo>
                    <a:pt x="13" y="27"/>
                  </a:lnTo>
                  <a:lnTo>
                    <a:pt x="12" y="30"/>
                  </a:lnTo>
                  <a:lnTo>
                    <a:pt x="12" y="31"/>
                  </a:lnTo>
                  <a:lnTo>
                    <a:pt x="12" y="36"/>
                  </a:lnTo>
                  <a:lnTo>
                    <a:pt x="9" y="41"/>
                  </a:lnTo>
                  <a:lnTo>
                    <a:pt x="9" y="47"/>
                  </a:lnTo>
                  <a:lnTo>
                    <a:pt x="8" y="50"/>
                  </a:lnTo>
                  <a:lnTo>
                    <a:pt x="6" y="50"/>
                  </a:lnTo>
                  <a:lnTo>
                    <a:pt x="4" y="49"/>
                  </a:lnTo>
                  <a:lnTo>
                    <a:pt x="1" y="50"/>
                  </a:lnTo>
                  <a:lnTo>
                    <a:pt x="0" y="51"/>
                  </a:lnTo>
                  <a:lnTo>
                    <a:pt x="1" y="53"/>
                  </a:lnTo>
                  <a:lnTo>
                    <a:pt x="0" y="53"/>
                  </a:lnTo>
                  <a:lnTo>
                    <a:pt x="0" y="55"/>
                  </a:lnTo>
                  <a:lnTo>
                    <a:pt x="0" y="57"/>
                  </a:lnTo>
                  <a:lnTo>
                    <a:pt x="2" y="57"/>
                  </a:lnTo>
                  <a:lnTo>
                    <a:pt x="5" y="58"/>
                  </a:lnTo>
                  <a:lnTo>
                    <a:pt x="6" y="57"/>
                  </a:lnTo>
                  <a:lnTo>
                    <a:pt x="8" y="60"/>
                  </a:lnTo>
                  <a:lnTo>
                    <a:pt x="8" y="61"/>
                  </a:lnTo>
                  <a:lnTo>
                    <a:pt x="7" y="64"/>
                  </a:lnTo>
                  <a:lnTo>
                    <a:pt x="8" y="66"/>
                  </a:lnTo>
                  <a:lnTo>
                    <a:pt x="13" y="65"/>
                  </a:lnTo>
                  <a:lnTo>
                    <a:pt x="19" y="62"/>
                  </a:lnTo>
                  <a:lnTo>
                    <a:pt x="21" y="60"/>
                  </a:lnTo>
                  <a:lnTo>
                    <a:pt x="21" y="59"/>
                  </a:lnTo>
                  <a:lnTo>
                    <a:pt x="22" y="57"/>
                  </a:lnTo>
                  <a:lnTo>
                    <a:pt x="23" y="58"/>
                  </a:lnTo>
                  <a:lnTo>
                    <a:pt x="25" y="60"/>
                  </a:lnTo>
                  <a:lnTo>
                    <a:pt x="28" y="61"/>
                  </a:lnTo>
                  <a:lnTo>
                    <a:pt x="31" y="64"/>
                  </a:lnTo>
                  <a:lnTo>
                    <a:pt x="29" y="65"/>
                  </a:lnTo>
                  <a:lnTo>
                    <a:pt x="29" y="68"/>
                  </a:lnTo>
                  <a:lnTo>
                    <a:pt x="31" y="69"/>
                  </a:lnTo>
                  <a:lnTo>
                    <a:pt x="31" y="71"/>
                  </a:lnTo>
                  <a:lnTo>
                    <a:pt x="30" y="72"/>
                  </a:lnTo>
                  <a:lnTo>
                    <a:pt x="28" y="73"/>
                  </a:lnTo>
                  <a:lnTo>
                    <a:pt x="29" y="74"/>
                  </a:lnTo>
                  <a:lnTo>
                    <a:pt x="30" y="75"/>
                  </a:lnTo>
                  <a:lnTo>
                    <a:pt x="32" y="73"/>
                  </a:lnTo>
                  <a:lnTo>
                    <a:pt x="36" y="73"/>
                  </a:lnTo>
                  <a:lnTo>
                    <a:pt x="38" y="71"/>
                  </a:lnTo>
                  <a:lnTo>
                    <a:pt x="40" y="72"/>
                  </a:lnTo>
                  <a:lnTo>
                    <a:pt x="43" y="69"/>
                  </a:lnTo>
                  <a:lnTo>
                    <a:pt x="42" y="68"/>
                  </a:lnTo>
                  <a:lnTo>
                    <a:pt x="43" y="66"/>
                  </a:lnTo>
                  <a:lnTo>
                    <a:pt x="42" y="63"/>
                  </a:lnTo>
                  <a:lnTo>
                    <a:pt x="39" y="60"/>
                  </a:lnTo>
                  <a:lnTo>
                    <a:pt x="39" y="58"/>
                  </a:lnTo>
                  <a:lnTo>
                    <a:pt x="42" y="58"/>
                  </a:lnTo>
                  <a:lnTo>
                    <a:pt x="44" y="57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49" y="58"/>
                  </a:lnTo>
                  <a:lnTo>
                    <a:pt x="49" y="60"/>
                  </a:lnTo>
                  <a:lnTo>
                    <a:pt x="50" y="61"/>
                  </a:lnTo>
                  <a:lnTo>
                    <a:pt x="54" y="61"/>
                  </a:lnTo>
                  <a:lnTo>
                    <a:pt x="55" y="60"/>
                  </a:lnTo>
                  <a:lnTo>
                    <a:pt x="56" y="58"/>
                  </a:lnTo>
                  <a:lnTo>
                    <a:pt x="58" y="57"/>
                  </a:lnTo>
                  <a:lnTo>
                    <a:pt x="59" y="58"/>
                  </a:lnTo>
                  <a:lnTo>
                    <a:pt x="59" y="61"/>
                  </a:lnTo>
                  <a:lnTo>
                    <a:pt x="56" y="63"/>
                  </a:lnTo>
                  <a:lnTo>
                    <a:pt x="55" y="64"/>
                  </a:lnTo>
                  <a:lnTo>
                    <a:pt x="56" y="66"/>
                  </a:lnTo>
                  <a:lnTo>
                    <a:pt x="57" y="67"/>
                  </a:lnTo>
                  <a:lnTo>
                    <a:pt x="57" y="68"/>
                  </a:lnTo>
                  <a:lnTo>
                    <a:pt x="56" y="69"/>
                  </a:lnTo>
                  <a:lnTo>
                    <a:pt x="56" y="71"/>
                  </a:lnTo>
                  <a:lnTo>
                    <a:pt x="59" y="72"/>
                  </a:lnTo>
                  <a:lnTo>
                    <a:pt x="60" y="74"/>
                  </a:lnTo>
                  <a:lnTo>
                    <a:pt x="61" y="76"/>
                  </a:lnTo>
                  <a:lnTo>
                    <a:pt x="61" y="77"/>
                  </a:lnTo>
                  <a:lnTo>
                    <a:pt x="60" y="77"/>
                  </a:lnTo>
                  <a:lnTo>
                    <a:pt x="62" y="78"/>
                  </a:lnTo>
                  <a:lnTo>
                    <a:pt x="63" y="79"/>
                  </a:lnTo>
                  <a:lnTo>
                    <a:pt x="63" y="80"/>
                  </a:lnTo>
                  <a:lnTo>
                    <a:pt x="64" y="81"/>
                  </a:lnTo>
                  <a:lnTo>
                    <a:pt x="64" y="82"/>
                  </a:lnTo>
                  <a:lnTo>
                    <a:pt x="65" y="83"/>
                  </a:lnTo>
                  <a:lnTo>
                    <a:pt x="67" y="83"/>
                  </a:lnTo>
                  <a:lnTo>
                    <a:pt x="67" y="86"/>
                  </a:lnTo>
                  <a:lnTo>
                    <a:pt x="65" y="88"/>
                  </a:lnTo>
                  <a:lnTo>
                    <a:pt x="65" y="91"/>
                  </a:lnTo>
                  <a:lnTo>
                    <a:pt x="67" y="91"/>
                  </a:lnTo>
                  <a:lnTo>
                    <a:pt x="69" y="92"/>
                  </a:lnTo>
                  <a:lnTo>
                    <a:pt x="71" y="92"/>
                  </a:lnTo>
                  <a:lnTo>
                    <a:pt x="72" y="94"/>
                  </a:lnTo>
                  <a:lnTo>
                    <a:pt x="71" y="96"/>
                  </a:lnTo>
                  <a:lnTo>
                    <a:pt x="71" y="97"/>
                  </a:lnTo>
                  <a:lnTo>
                    <a:pt x="72" y="99"/>
                  </a:lnTo>
                  <a:lnTo>
                    <a:pt x="71" y="101"/>
                  </a:lnTo>
                  <a:lnTo>
                    <a:pt x="70" y="103"/>
                  </a:lnTo>
                  <a:lnTo>
                    <a:pt x="69" y="103"/>
                  </a:lnTo>
                  <a:lnTo>
                    <a:pt x="71" y="104"/>
                  </a:lnTo>
                  <a:lnTo>
                    <a:pt x="72" y="105"/>
                  </a:lnTo>
                  <a:lnTo>
                    <a:pt x="73" y="106"/>
                  </a:lnTo>
                  <a:lnTo>
                    <a:pt x="75" y="105"/>
                  </a:lnTo>
                  <a:lnTo>
                    <a:pt x="74" y="103"/>
                  </a:lnTo>
                  <a:lnTo>
                    <a:pt x="76" y="101"/>
                  </a:lnTo>
                  <a:lnTo>
                    <a:pt x="78" y="102"/>
                  </a:lnTo>
                  <a:lnTo>
                    <a:pt x="81" y="101"/>
                  </a:lnTo>
                  <a:lnTo>
                    <a:pt x="84" y="100"/>
                  </a:lnTo>
                  <a:lnTo>
                    <a:pt x="88" y="97"/>
                  </a:lnTo>
                  <a:lnTo>
                    <a:pt x="90" y="95"/>
                  </a:lnTo>
                  <a:lnTo>
                    <a:pt x="91" y="93"/>
                  </a:lnTo>
                  <a:lnTo>
                    <a:pt x="94" y="95"/>
                  </a:lnTo>
                  <a:lnTo>
                    <a:pt x="95" y="94"/>
                  </a:lnTo>
                  <a:lnTo>
                    <a:pt x="97" y="94"/>
                  </a:lnTo>
                  <a:lnTo>
                    <a:pt x="97" y="93"/>
                  </a:lnTo>
                  <a:lnTo>
                    <a:pt x="98" y="91"/>
                  </a:lnTo>
                  <a:lnTo>
                    <a:pt x="98" y="89"/>
                  </a:lnTo>
                  <a:lnTo>
                    <a:pt x="96" y="87"/>
                  </a:lnTo>
                  <a:lnTo>
                    <a:pt x="95" y="84"/>
                  </a:lnTo>
                  <a:lnTo>
                    <a:pt x="96" y="81"/>
                  </a:lnTo>
                  <a:lnTo>
                    <a:pt x="96" y="79"/>
                  </a:lnTo>
                  <a:lnTo>
                    <a:pt x="96" y="78"/>
                  </a:lnTo>
                  <a:lnTo>
                    <a:pt x="95" y="77"/>
                  </a:lnTo>
                  <a:lnTo>
                    <a:pt x="95" y="76"/>
                  </a:lnTo>
                  <a:lnTo>
                    <a:pt x="97" y="75"/>
                  </a:lnTo>
                  <a:lnTo>
                    <a:pt x="103" y="74"/>
                  </a:lnTo>
                  <a:lnTo>
                    <a:pt x="105" y="74"/>
                  </a:lnTo>
                  <a:lnTo>
                    <a:pt x="104" y="73"/>
                  </a:lnTo>
                  <a:lnTo>
                    <a:pt x="107" y="71"/>
                  </a:lnTo>
                  <a:lnTo>
                    <a:pt x="106" y="69"/>
                  </a:lnTo>
                  <a:lnTo>
                    <a:pt x="107" y="67"/>
                  </a:lnTo>
                  <a:lnTo>
                    <a:pt x="106" y="65"/>
                  </a:lnTo>
                  <a:lnTo>
                    <a:pt x="106" y="64"/>
                  </a:lnTo>
                  <a:lnTo>
                    <a:pt x="107" y="62"/>
                  </a:lnTo>
                  <a:lnTo>
                    <a:pt x="104" y="58"/>
                  </a:lnTo>
                  <a:lnTo>
                    <a:pt x="105" y="57"/>
                  </a:lnTo>
                  <a:lnTo>
                    <a:pt x="104" y="54"/>
                  </a:lnTo>
                  <a:lnTo>
                    <a:pt x="104" y="52"/>
                  </a:lnTo>
                  <a:lnTo>
                    <a:pt x="104" y="51"/>
                  </a:lnTo>
                  <a:lnTo>
                    <a:pt x="103" y="51"/>
                  </a:lnTo>
                  <a:lnTo>
                    <a:pt x="100" y="46"/>
                  </a:lnTo>
                  <a:lnTo>
                    <a:pt x="99" y="44"/>
                  </a:lnTo>
                  <a:lnTo>
                    <a:pt x="100" y="43"/>
                  </a:lnTo>
                  <a:lnTo>
                    <a:pt x="103" y="42"/>
                  </a:lnTo>
                  <a:lnTo>
                    <a:pt x="105" y="40"/>
                  </a:lnTo>
                  <a:lnTo>
                    <a:pt x="108" y="40"/>
                  </a:lnTo>
                  <a:lnTo>
                    <a:pt x="111" y="41"/>
                  </a:lnTo>
                  <a:lnTo>
                    <a:pt x="116" y="38"/>
                  </a:lnTo>
                  <a:lnTo>
                    <a:pt x="117" y="36"/>
                  </a:lnTo>
                  <a:lnTo>
                    <a:pt x="119" y="35"/>
                  </a:lnTo>
                  <a:lnTo>
                    <a:pt x="119" y="34"/>
                  </a:lnTo>
                  <a:lnTo>
                    <a:pt x="118" y="34"/>
                  </a:lnTo>
                  <a:lnTo>
                    <a:pt x="116" y="33"/>
                  </a:lnTo>
                  <a:lnTo>
                    <a:pt x="113" y="33"/>
                  </a:lnTo>
                  <a:lnTo>
                    <a:pt x="112" y="32"/>
                  </a:lnTo>
                  <a:lnTo>
                    <a:pt x="111" y="31"/>
                  </a:lnTo>
                  <a:lnTo>
                    <a:pt x="107" y="29"/>
                  </a:lnTo>
                  <a:lnTo>
                    <a:pt x="106" y="30"/>
                  </a:lnTo>
                  <a:lnTo>
                    <a:pt x="100" y="25"/>
                  </a:lnTo>
                  <a:lnTo>
                    <a:pt x="97" y="22"/>
                  </a:lnTo>
                  <a:lnTo>
                    <a:pt x="95" y="21"/>
                  </a:lnTo>
                  <a:lnTo>
                    <a:pt x="91" y="21"/>
                  </a:lnTo>
                  <a:lnTo>
                    <a:pt x="88" y="19"/>
                  </a:lnTo>
                  <a:lnTo>
                    <a:pt x="86" y="19"/>
                  </a:lnTo>
                  <a:lnTo>
                    <a:pt x="85" y="20"/>
                  </a:lnTo>
                  <a:lnTo>
                    <a:pt x="84" y="20"/>
                  </a:lnTo>
                  <a:lnTo>
                    <a:pt x="82" y="18"/>
                  </a:lnTo>
                  <a:lnTo>
                    <a:pt x="80" y="19"/>
                  </a:lnTo>
                  <a:lnTo>
                    <a:pt x="79" y="19"/>
                  </a:lnTo>
                  <a:lnTo>
                    <a:pt x="78" y="18"/>
                  </a:lnTo>
                  <a:lnTo>
                    <a:pt x="77" y="19"/>
                  </a:lnTo>
                  <a:lnTo>
                    <a:pt x="74" y="15"/>
                  </a:lnTo>
                  <a:lnTo>
                    <a:pt x="74" y="14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4" y="3"/>
                  </a:lnTo>
                  <a:lnTo>
                    <a:pt x="62" y="1"/>
                  </a:lnTo>
                  <a:lnTo>
                    <a:pt x="60" y="1"/>
                  </a:lnTo>
                  <a:lnTo>
                    <a:pt x="57" y="2"/>
                  </a:lnTo>
                  <a:lnTo>
                    <a:pt x="52" y="2"/>
                  </a:lnTo>
                  <a:lnTo>
                    <a:pt x="49" y="1"/>
                  </a:lnTo>
                  <a:lnTo>
                    <a:pt x="48" y="0"/>
                  </a:lnTo>
                  <a:lnTo>
                    <a:pt x="46" y="1"/>
                  </a:lnTo>
                  <a:lnTo>
                    <a:pt x="44" y="9"/>
                  </a:lnTo>
                  <a:lnTo>
                    <a:pt x="45" y="11"/>
                  </a:lnTo>
                  <a:cubicBezTo>
                    <a:pt x="46" y="11"/>
                    <a:pt x="47" y="11"/>
                    <a:pt x="48" y="10"/>
                  </a:cubicBezTo>
                  <a:cubicBezTo>
                    <a:pt x="49" y="16"/>
                    <a:pt x="46" y="18"/>
                    <a:pt x="44" y="16"/>
                  </a:cubicBezTo>
                  <a:cubicBezTo>
                    <a:pt x="45" y="15"/>
                    <a:pt x="46" y="15"/>
                    <a:pt x="46" y="14"/>
                  </a:cubicBezTo>
                  <a:cubicBezTo>
                    <a:pt x="46" y="15"/>
                    <a:pt x="45" y="15"/>
                    <a:pt x="45" y="15"/>
                  </a:cubicBezTo>
                  <a:lnTo>
                    <a:pt x="45" y="14"/>
                  </a:lnTo>
                  <a:moveTo>
                    <a:pt x="45" y="11"/>
                  </a:moveTo>
                  <a:lnTo>
                    <a:pt x="45" y="11"/>
                  </a:lnTo>
                  <a:cubicBezTo>
                    <a:pt x="46" y="13"/>
                    <a:pt x="46" y="13"/>
                    <a:pt x="46" y="14"/>
                  </a:cubicBezTo>
                  <a:cubicBezTo>
                    <a:pt x="46" y="13"/>
                    <a:pt x="46" y="12"/>
                    <a:pt x="45" y="11"/>
                  </a:cubicBezTo>
                  <a:moveTo>
                    <a:pt x="45" y="27"/>
                  </a:moveTo>
                  <a:cubicBezTo>
                    <a:pt x="45" y="26"/>
                    <a:pt x="46" y="27"/>
                    <a:pt x="46" y="27"/>
                  </a:cubicBezTo>
                  <a:cubicBezTo>
                    <a:pt x="46" y="28"/>
                    <a:pt x="48" y="27"/>
                    <a:pt x="49" y="28"/>
                  </a:cubicBezTo>
                  <a:cubicBezTo>
                    <a:pt x="50" y="29"/>
                    <a:pt x="51" y="28"/>
                    <a:pt x="52" y="29"/>
                  </a:cubicBezTo>
                  <a:cubicBezTo>
                    <a:pt x="53" y="29"/>
                    <a:pt x="53" y="31"/>
                    <a:pt x="53" y="30"/>
                  </a:cubicBezTo>
                  <a:cubicBezTo>
                    <a:pt x="54" y="28"/>
                    <a:pt x="57" y="31"/>
                    <a:pt x="55" y="31"/>
                  </a:cubicBezTo>
                  <a:cubicBezTo>
                    <a:pt x="55" y="32"/>
                    <a:pt x="56" y="32"/>
                    <a:pt x="56" y="32"/>
                  </a:cubicBezTo>
                  <a:cubicBezTo>
                    <a:pt x="56" y="33"/>
                    <a:pt x="54" y="33"/>
                    <a:pt x="56" y="34"/>
                  </a:cubicBezTo>
                  <a:cubicBezTo>
                    <a:pt x="55" y="36"/>
                    <a:pt x="55" y="36"/>
                    <a:pt x="54" y="36"/>
                  </a:cubicBezTo>
                  <a:cubicBezTo>
                    <a:pt x="53" y="35"/>
                    <a:pt x="51" y="36"/>
                    <a:pt x="51" y="35"/>
                  </a:cubicBezTo>
                  <a:cubicBezTo>
                    <a:pt x="51" y="35"/>
                    <a:pt x="50" y="35"/>
                    <a:pt x="50" y="34"/>
                  </a:cubicBezTo>
                  <a:cubicBezTo>
                    <a:pt x="48" y="35"/>
                    <a:pt x="47" y="34"/>
                    <a:pt x="48" y="32"/>
                  </a:cubicBezTo>
                  <a:cubicBezTo>
                    <a:pt x="47" y="32"/>
                    <a:pt x="46" y="31"/>
                    <a:pt x="46" y="29"/>
                  </a:cubicBezTo>
                  <a:cubicBezTo>
                    <a:pt x="44" y="29"/>
                    <a:pt x="43" y="28"/>
                    <a:pt x="43" y="27"/>
                  </a:cubicBezTo>
                  <a:cubicBezTo>
                    <a:pt x="43" y="26"/>
                    <a:pt x="44" y="26"/>
                    <a:pt x="45" y="27"/>
                  </a:cubicBezTo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1A5201AF-62B4-7980-7982-AF9159A58EC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992480" y="2259968"/>
              <a:ext cx="219075" cy="187325"/>
            </a:xfrm>
            <a:custGeom>
              <a:avLst/>
              <a:gdLst>
                <a:gd name="T0" fmla="*/ 2147483647 w 14"/>
                <a:gd name="T1" fmla="*/ 2147483647 h 13"/>
                <a:gd name="T2" fmla="*/ 2147483647 w 14"/>
                <a:gd name="T3" fmla="*/ 2147483647 h 13"/>
                <a:gd name="T4" fmla="*/ 2147483647 w 14"/>
                <a:gd name="T5" fmla="*/ 2147483647 h 13"/>
                <a:gd name="T6" fmla="*/ 2147483647 w 14"/>
                <a:gd name="T7" fmla="*/ 2147483647 h 13"/>
                <a:gd name="T8" fmla="*/ 2147483647 w 14"/>
                <a:gd name="T9" fmla="*/ 2147483647 h 13"/>
                <a:gd name="T10" fmla="*/ 2147483647 w 14"/>
                <a:gd name="T11" fmla="*/ 2147483647 h 13"/>
                <a:gd name="T12" fmla="*/ 2147483647 w 14"/>
                <a:gd name="T13" fmla="*/ 2147483647 h 13"/>
                <a:gd name="T14" fmla="*/ 2147483647 w 14"/>
                <a:gd name="T15" fmla="*/ 2147483647 h 13"/>
                <a:gd name="T16" fmla="*/ 2147483647 w 14"/>
                <a:gd name="T17" fmla="*/ 2147483647 h 13"/>
                <a:gd name="T18" fmla="*/ 0 w 14"/>
                <a:gd name="T19" fmla="*/ 2147483647 h 13"/>
                <a:gd name="T20" fmla="*/ 0 w 14"/>
                <a:gd name="T21" fmla="*/ 2147483647 h 13"/>
                <a:gd name="T22" fmla="*/ 2147483647 w 14"/>
                <a:gd name="T23" fmla="*/ 2147483647 h 13"/>
                <a:gd name="T24" fmla="*/ 2147483647 w 14"/>
                <a:gd name="T25" fmla="*/ 2147483647 h 13"/>
                <a:gd name="T26" fmla="*/ 2147483647 w 14"/>
                <a:gd name="T27" fmla="*/ 2147483647 h 13"/>
                <a:gd name="T28" fmla="*/ 2147483647 w 14"/>
                <a:gd name="T29" fmla="*/ 2147483647 h 13"/>
                <a:gd name="T30" fmla="*/ 2147483647 w 14"/>
                <a:gd name="T31" fmla="*/ 2147483647 h 13"/>
                <a:gd name="T32" fmla="*/ 2147483647 w 14"/>
                <a:gd name="T33" fmla="*/ 2147483647 h 13"/>
                <a:gd name="T34" fmla="*/ 2147483647 w 14"/>
                <a:gd name="T35" fmla="*/ 0 h 13"/>
                <a:gd name="T36" fmla="*/ 2147483647 w 14"/>
                <a:gd name="T37" fmla="*/ 0 h 13"/>
                <a:gd name="T38" fmla="*/ 2147483647 w 14"/>
                <a:gd name="T39" fmla="*/ 2147483647 h 13"/>
                <a:gd name="T40" fmla="*/ 2147483647 w 14"/>
                <a:gd name="T41" fmla="*/ 2147483647 h 13"/>
                <a:gd name="T42" fmla="*/ 2147483647 w 14"/>
                <a:gd name="T43" fmla="*/ 2147483647 h 13"/>
                <a:gd name="T44" fmla="*/ 2147483647 w 14"/>
                <a:gd name="T45" fmla="*/ 2147483647 h 13"/>
                <a:gd name="T46" fmla="*/ 2147483647 w 14"/>
                <a:gd name="T47" fmla="*/ 2147483647 h 13"/>
                <a:gd name="T48" fmla="*/ 2147483647 w 14"/>
                <a:gd name="T49" fmla="*/ 2147483647 h 1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4"/>
                <a:gd name="T76" fmla="*/ 0 h 13"/>
                <a:gd name="T77" fmla="*/ 14 w 14"/>
                <a:gd name="T78" fmla="*/ 13 h 1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4" h="13">
                  <a:moveTo>
                    <a:pt x="14" y="12"/>
                  </a:moveTo>
                  <a:lnTo>
                    <a:pt x="12" y="12"/>
                  </a:lnTo>
                  <a:lnTo>
                    <a:pt x="11" y="13"/>
                  </a:lnTo>
                  <a:lnTo>
                    <a:pt x="10" y="13"/>
                  </a:lnTo>
                  <a:lnTo>
                    <a:pt x="8" y="11"/>
                  </a:lnTo>
                  <a:lnTo>
                    <a:pt x="6" y="12"/>
                  </a:lnTo>
                  <a:lnTo>
                    <a:pt x="5" y="12"/>
                  </a:lnTo>
                  <a:lnTo>
                    <a:pt x="4" y="11"/>
                  </a:lnTo>
                  <a:lnTo>
                    <a:pt x="3" y="12"/>
                  </a:lnTo>
                  <a:lnTo>
                    <a:pt x="0" y="8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3"/>
                  </a:lnTo>
                  <a:lnTo>
                    <a:pt x="6" y="3"/>
                  </a:lnTo>
                  <a:lnTo>
                    <a:pt x="9" y="1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1" y="4"/>
                  </a:lnTo>
                  <a:lnTo>
                    <a:pt x="10" y="7"/>
                  </a:lnTo>
                  <a:lnTo>
                    <a:pt x="11" y="8"/>
                  </a:lnTo>
                  <a:lnTo>
                    <a:pt x="14" y="11"/>
                  </a:lnTo>
                  <a:lnTo>
                    <a:pt x="14" y="12"/>
                  </a:lnTo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075A0614-1C58-0EE1-B852-C3EDFE9157D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989443" y="3482487"/>
              <a:ext cx="1216025" cy="876300"/>
            </a:xfrm>
            <a:custGeom>
              <a:avLst/>
              <a:gdLst>
                <a:gd name="T0" fmla="*/ 2147483647 w 78"/>
                <a:gd name="T1" fmla="*/ 2147483647 h 61"/>
                <a:gd name="T2" fmla="*/ 2147483647 w 78"/>
                <a:gd name="T3" fmla="*/ 2147483647 h 61"/>
                <a:gd name="T4" fmla="*/ 2147483647 w 78"/>
                <a:gd name="T5" fmla="*/ 2147483647 h 61"/>
                <a:gd name="T6" fmla="*/ 2147483647 w 78"/>
                <a:gd name="T7" fmla="*/ 2147483647 h 61"/>
                <a:gd name="T8" fmla="*/ 2147483647 w 78"/>
                <a:gd name="T9" fmla="*/ 2147483647 h 61"/>
                <a:gd name="T10" fmla="*/ 2147483647 w 78"/>
                <a:gd name="T11" fmla="*/ 2147483647 h 61"/>
                <a:gd name="T12" fmla="*/ 2147483647 w 78"/>
                <a:gd name="T13" fmla="*/ 2147483647 h 61"/>
                <a:gd name="T14" fmla="*/ 2147483647 w 78"/>
                <a:gd name="T15" fmla="*/ 2147483647 h 61"/>
                <a:gd name="T16" fmla="*/ 2147483647 w 78"/>
                <a:gd name="T17" fmla="*/ 2147483647 h 61"/>
                <a:gd name="T18" fmla="*/ 2147483647 w 78"/>
                <a:gd name="T19" fmla="*/ 2147483647 h 61"/>
                <a:gd name="T20" fmla="*/ 2147483647 w 78"/>
                <a:gd name="T21" fmla="*/ 2147483647 h 61"/>
                <a:gd name="T22" fmla="*/ 2147483647 w 78"/>
                <a:gd name="T23" fmla="*/ 2147483647 h 61"/>
                <a:gd name="T24" fmla="*/ 2147483647 w 78"/>
                <a:gd name="T25" fmla="*/ 2147483647 h 61"/>
                <a:gd name="T26" fmla="*/ 2147483647 w 78"/>
                <a:gd name="T27" fmla="*/ 2147483647 h 61"/>
                <a:gd name="T28" fmla="*/ 2147483647 w 78"/>
                <a:gd name="T29" fmla="*/ 2147483647 h 61"/>
                <a:gd name="T30" fmla="*/ 2147483647 w 78"/>
                <a:gd name="T31" fmla="*/ 2147483647 h 61"/>
                <a:gd name="T32" fmla="*/ 2147483647 w 78"/>
                <a:gd name="T33" fmla="*/ 2147483647 h 61"/>
                <a:gd name="T34" fmla="*/ 2147483647 w 78"/>
                <a:gd name="T35" fmla="*/ 2147483647 h 61"/>
                <a:gd name="T36" fmla="*/ 2147483647 w 78"/>
                <a:gd name="T37" fmla="*/ 2147483647 h 61"/>
                <a:gd name="T38" fmla="*/ 2147483647 w 78"/>
                <a:gd name="T39" fmla="*/ 2147483647 h 61"/>
                <a:gd name="T40" fmla="*/ 2147483647 w 78"/>
                <a:gd name="T41" fmla="*/ 2147483647 h 61"/>
                <a:gd name="T42" fmla="*/ 2147483647 w 78"/>
                <a:gd name="T43" fmla="*/ 2147483647 h 61"/>
                <a:gd name="T44" fmla="*/ 2147483647 w 78"/>
                <a:gd name="T45" fmla="*/ 2147483647 h 61"/>
                <a:gd name="T46" fmla="*/ 2147483647 w 78"/>
                <a:gd name="T47" fmla="*/ 2147483647 h 61"/>
                <a:gd name="T48" fmla="*/ 2147483647 w 78"/>
                <a:gd name="T49" fmla="*/ 2147483647 h 61"/>
                <a:gd name="T50" fmla="*/ 2147483647 w 78"/>
                <a:gd name="T51" fmla="*/ 2147483647 h 61"/>
                <a:gd name="T52" fmla="*/ 2147483647 w 78"/>
                <a:gd name="T53" fmla="*/ 2147483647 h 61"/>
                <a:gd name="T54" fmla="*/ 2147483647 w 78"/>
                <a:gd name="T55" fmla="*/ 2147483647 h 61"/>
                <a:gd name="T56" fmla="*/ 2147483647 w 78"/>
                <a:gd name="T57" fmla="*/ 2147483647 h 61"/>
                <a:gd name="T58" fmla="*/ 2147483647 w 78"/>
                <a:gd name="T59" fmla="*/ 2147483647 h 61"/>
                <a:gd name="T60" fmla="*/ 2147483647 w 78"/>
                <a:gd name="T61" fmla="*/ 0 h 61"/>
                <a:gd name="T62" fmla="*/ 2147483647 w 78"/>
                <a:gd name="T63" fmla="*/ 0 h 61"/>
                <a:gd name="T64" fmla="*/ 2147483647 w 78"/>
                <a:gd name="T65" fmla="*/ 2147483647 h 61"/>
                <a:gd name="T66" fmla="*/ 2147483647 w 78"/>
                <a:gd name="T67" fmla="*/ 2147483647 h 61"/>
                <a:gd name="T68" fmla="*/ 2147483647 w 78"/>
                <a:gd name="T69" fmla="*/ 2147483647 h 61"/>
                <a:gd name="T70" fmla="*/ 2147483647 w 78"/>
                <a:gd name="T71" fmla="*/ 2147483647 h 61"/>
                <a:gd name="T72" fmla="*/ 2147483647 w 78"/>
                <a:gd name="T73" fmla="*/ 2147483647 h 61"/>
                <a:gd name="T74" fmla="*/ 2147483647 w 78"/>
                <a:gd name="T75" fmla="*/ 2147483647 h 61"/>
                <a:gd name="T76" fmla="*/ 2147483647 w 78"/>
                <a:gd name="T77" fmla="*/ 2147483647 h 61"/>
                <a:gd name="T78" fmla="*/ 2147483647 w 78"/>
                <a:gd name="T79" fmla="*/ 2147483647 h 61"/>
                <a:gd name="T80" fmla="*/ 2147483647 w 78"/>
                <a:gd name="T81" fmla="*/ 2147483647 h 61"/>
                <a:gd name="T82" fmla="*/ 2147483647 w 78"/>
                <a:gd name="T83" fmla="*/ 2147483647 h 61"/>
                <a:gd name="T84" fmla="*/ 2147483647 w 78"/>
                <a:gd name="T85" fmla="*/ 2147483647 h 61"/>
                <a:gd name="T86" fmla="*/ 2147483647 w 78"/>
                <a:gd name="T87" fmla="*/ 2147483647 h 61"/>
                <a:gd name="T88" fmla="*/ 2147483647 w 78"/>
                <a:gd name="T89" fmla="*/ 2147483647 h 61"/>
                <a:gd name="T90" fmla="*/ 2147483647 w 78"/>
                <a:gd name="T91" fmla="*/ 2147483647 h 61"/>
                <a:gd name="T92" fmla="*/ 2147483647 w 78"/>
                <a:gd name="T93" fmla="*/ 2147483647 h 61"/>
                <a:gd name="T94" fmla="*/ 2147483647 w 78"/>
                <a:gd name="T95" fmla="*/ 2147483647 h 61"/>
                <a:gd name="T96" fmla="*/ 2147483647 w 78"/>
                <a:gd name="T97" fmla="*/ 2147483647 h 61"/>
                <a:gd name="T98" fmla="*/ 2147483647 w 78"/>
                <a:gd name="T99" fmla="*/ 2147483647 h 61"/>
                <a:gd name="T100" fmla="*/ 2147483647 w 78"/>
                <a:gd name="T101" fmla="*/ 2147483647 h 61"/>
                <a:gd name="T102" fmla="*/ 2147483647 w 78"/>
                <a:gd name="T103" fmla="*/ 2147483647 h 61"/>
                <a:gd name="T104" fmla="*/ 2147483647 w 78"/>
                <a:gd name="T105" fmla="*/ 2147483647 h 61"/>
                <a:gd name="T106" fmla="*/ 2147483647 w 78"/>
                <a:gd name="T107" fmla="*/ 2147483647 h 61"/>
                <a:gd name="T108" fmla="*/ 2147483647 w 78"/>
                <a:gd name="T109" fmla="*/ 2147483647 h 61"/>
                <a:gd name="T110" fmla="*/ 2147483647 w 78"/>
                <a:gd name="T111" fmla="*/ 2147483647 h 61"/>
                <a:gd name="T112" fmla="*/ 2147483647 w 78"/>
                <a:gd name="T113" fmla="*/ 2147483647 h 61"/>
                <a:gd name="T114" fmla="*/ 2147483647 w 78"/>
                <a:gd name="T115" fmla="*/ 2147483647 h 6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8"/>
                <a:gd name="T175" fmla="*/ 0 h 61"/>
                <a:gd name="T176" fmla="*/ 78 w 78"/>
                <a:gd name="T177" fmla="*/ 61 h 6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8" h="61">
                  <a:moveTo>
                    <a:pt x="5" y="55"/>
                  </a:moveTo>
                  <a:lnTo>
                    <a:pt x="6" y="55"/>
                  </a:lnTo>
                  <a:lnTo>
                    <a:pt x="7" y="56"/>
                  </a:lnTo>
                  <a:lnTo>
                    <a:pt x="8" y="57"/>
                  </a:lnTo>
                  <a:lnTo>
                    <a:pt x="9" y="57"/>
                  </a:lnTo>
                  <a:lnTo>
                    <a:pt x="9" y="58"/>
                  </a:lnTo>
                  <a:lnTo>
                    <a:pt x="10" y="61"/>
                  </a:lnTo>
                  <a:lnTo>
                    <a:pt x="11" y="61"/>
                  </a:lnTo>
                  <a:lnTo>
                    <a:pt x="11" y="58"/>
                  </a:lnTo>
                  <a:lnTo>
                    <a:pt x="15" y="52"/>
                  </a:lnTo>
                  <a:lnTo>
                    <a:pt x="17" y="51"/>
                  </a:lnTo>
                  <a:lnTo>
                    <a:pt x="20" y="51"/>
                  </a:lnTo>
                  <a:lnTo>
                    <a:pt x="21" y="50"/>
                  </a:lnTo>
                  <a:lnTo>
                    <a:pt x="23" y="49"/>
                  </a:lnTo>
                  <a:lnTo>
                    <a:pt x="26" y="50"/>
                  </a:lnTo>
                  <a:lnTo>
                    <a:pt x="28" y="50"/>
                  </a:lnTo>
                  <a:lnTo>
                    <a:pt x="29" y="47"/>
                  </a:lnTo>
                  <a:lnTo>
                    <a:pt x="31" y="47"/>
                  </a:lnTo>
                  <a:lnTo>
                    <a:pt x="33" y="46"/>
                  </a:lnTo>
                  <a:lnTo>
                    <a:pt x="34" y="44"/>
                  </a:lnTo>
                  <a:lnTo>
                    <a:pt x="34" y="43"/>
                  </a:lnTo>
                  <a:lnTo>
                    <a:pt x="36" y="43"/>
                  </a:lnTo>
                  <a:lnTo>
                    <a:pt x="37" y="41"/>
                  </a:lnTo>
                  <a:lnTo>
                    <a:pt x="39" y="42"/>
                  </a:lnTo>
                  <a:lnTo>
                    <a:pt x="41" y="40"/>
                  </a:lnTo>
                  <a:lnTo>
                    <a:pt x="42" y="38"/>
                  </a:lnTo>
                  <a:lnTo>
                    <a:pt x="45" y="37"/>
                  </a:lnTo>
                  <a:lnTo>
                    <a:pt x="46" y="36"/>
                  </a:lnTo>
                  <a:lnTo>
                    <a:pt x="48" y="37"/>
                  </a:lnTo>
                  <a:lnTo>
                    <a:pt x="50" y="36"/>
                  </a:lnTo>
                  <a:lnTo>
                    <a:pt x="50" y="35"/>
                  </a:lnTo>
                  <a:lnTo>
                    <a:pt x="52" y="33"/>
                  </a:lnTo>
                  <a:lnTo>
                    <a:pt x="54" y="33"/>
                  </a:lnTo>
                  <a:lnTo>
                    <a:pt x="59" y="29"/>
                  </a:lnTo>
                  <a:lnTo>
                    <a:pt x="61" y="29"/>
                  </a:lnTo>
                  <a:lnTo>
                    <a:pt x="63" y="28"/>
                  </a:lnTo>
                  <a:lnTo>
                    <a:pt x="62" y="27"/>
                  </a:lnTo>
                  <a:lnTo>
                    <a:pt x="60" y="26"/>
                  </a:lnTo>
                  <a:lnTo>
                    <a:pt x="59" y="25"/>
                  </a:lnTo>
                  <a:lnTo>
                    <a:pt x="60" y="23"/>
                  </a:lnTo>
                  <a:lnTo>
                    <a:pt x="63" y="24"/>
                  </a:lnTo>
                  <a:lnTo>
                    <a:pt x="64" y="23"/>
                  </a:lnTo>
                  <a:lnTo>
                    <a:pt x="67" y="25"/>
                  </a:lnTo>
                  <a:lnTo>
                    <a:pt x="67" y="28"/>
                  </a:lnTo>
                  <a:lnTo>
                    <a:pt x="68" y="27"/>
                  </a:lnTo>
                  <a:lnTo>
                    <a:pt x="69" y="28"/>
                  </a:lnTo>
                  <a:lnTo>
                    <a:pt x="68" y="29"/>
                  </a:lnTo>
                  <a:lnTo>
                    <a:pt x="69" y="30"/>
                  </a:lnTo>
                  <a:lnTo>
                    <a:pt x="72" y="31"/>
                  </a:lnTo>
                  <a:lnTo>
                    <a:pt x="73" y="31"/>
                  </a:lnTo>
                  <a:lnTo>
                    <a:pt x="75" y="29"/>
                  </a:lnTo>
                  <a:lnTo>
                    <a:pt x="74" y="29"/>
                  </a:lnTo>
                  <a:lnTo>
                    <a:pt x="77" y="22"/>
                  </a:lnTo>
                  <a:lnTo>
                    <a:pt x="78" y="13"/>
                  </a:lnTo>
                  <a:lnTo>
                    <a:pt x="76" y="10"/>
                  </a:lnTo>
                  <a:lnTo>
                    <a:pt x="75" y="5"/>
                  </a:lnTo>
                  <a:lnTo>
                    <a:pt x="70" y="3"/>
                  </a:lnTo>
                  <a:lnTo>
                    <a:pt x="69" y="2"/>
                  </a:lnTo>
                  <a:lnTo>
                    <a:pt x="69" y="0"/>
                  </a:lnTo>
                  <a:lnTo>
                    <a:pt x="70" y="0"/>
                  </a:lnTo>
                  <a:lnTo>
                    <a:pt x="67" y="1"/>
                  </a:lnTo>
                  <a:lnTo>
                    <a:pt x="66" y="0"/>
                  </a:lnTo>
                  <a:lnTo>
                    <a:pt x="64" y="1"/>
                  </a:lnTo>
                  <a:lnTo>
                    <a:pt x="62" y="1"/>
                  </a:lnTo>
                  <a:lnTo>
                    <a:pt x="60" y="3"/>
                  </a:lnTo>
                  <a:lnTo>
                    <a:pt x="57" y="3"/>
                  </a:lnTo>
                  <a:lnTo>
                    <a:pt x="56" y="2"/>
                  </a:lnTo>
                  <a:lnTo>
                    <a:pt x="54" y="4"/>
                  </a:lnTo>
                  <a:lnTo>
                    <a:pt x="55" y="6"/>
                  </a:lnTo>
                  <a:lnTo>
                    <a:pt x="54" y="6"/>
                  </a:lnTo>
                  <a:lnTo>
                    <a:pt x="51" y="4"/>
                  </a:lnTo>
                  <a:lnTo>
                    <a:pt x="46" y="6"/>
                  </a:lnTo>
                  <a:lnTo>
                    <a:pt x="46" y="8"/>
                  </a:lnTo>
                  <a:lnTo>
                    <a:pt x="47" y="11"/>
                  </a:lnTo>
                  <a:lnTo>
                    <a:pt x="46" y="12"/>
                  </a:lnTo>
                  <a:lnTo>
                    <a:pt x="44" y="12"/>
                  </a:lnTo>
                  <a:lnTo>
                    <a:pt x="39" y="11"/>
                  </a:lnTo>
                  <a:lnTo>
                    <a:pt x="36" y="10"/>
                  </a:lnTo>
                  <a:lnTo>
                    <a:pt x="33" y="10"/>
                  </a:lnTo>
                  <a:lnTo>
                    <a:pt x="29" y="9"/>
                  </a:lnTo>
                  <a:lnTo>
                    <a:pt x="23" y="9"/>
                  </a:lnTo>
                  <a:lnTo>
                    <a:pt x="19" y="9"/>
                  </a:lnTo>
                  <a:lnTo>
                    <a:pt x="16" y="10"/>
                  </a:lnTo>
                  <a:lnTo>
                    <a:pt x="13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7" y="14"/>
                  </a:lnTo>
                  <a:lnTo>
                    <a:pt x="8" y="18"/>
                  </a:lnTo>
                  <a:lnTo>
                    <a:pt x="6" y="22"/>
                  </a:lnTo>
                  <a:lnTo>
                    <a:pt x="7" y="22"/>
                  </a:lnTo>
                  <a:lnTo>
                    <a:pt x="8" y="24"/>
                  </a:lnTo>
                  <a:lnTo>
                    <a:pt x="11" y="23"/>
                  </a:lnTo>
                  <a:lnTo>
                    <a:pt x="11" y="24"/>
                  </a:lnTo>
                  <a:lnTo>
                    <a:pt x="13" y="24"/>
                  </a:lnTo>
                  <a:lnTo>
                    <a:pt x="14" y="25"/>
                  </a:lnTo>
                  <a:lnTo>
                    <a:pt x="15" y="27"/>
                  </a:lnTo>
                  <a:lnTo>
                    <a:pt x="16" y="27"/>
                  </a:lnTo>
                  <a:lnTo>
                    <a:pt x="17" y="28"/>
                  </a:lnTo>
                  <a:lnTo>
                    <a:pt x="18" y="30"/>
                  </a:lnTo>
                  <a:lnTo>
                    <a:pt x="16" y="30"/>
                  </a:lnTo>
                  <a:lnTo>
                    <a:pt x="12" y="34"/>
                  </a:lnTo>
                  <a:lnTo>
                    <a:pt x="10" y="38"/>
                  </a:lnTo>
                  <a:lnTo>
                    <a:pt x="11" y="39"/>
                  </a:lnTo>
                  <a:lnTo>
                    <a:pt x="10" y="40"/>
                  </a:lnTo>
                  <a:lnTo>
                    <a:pt x="7" y="42"/>
                  </a:lnTo>
                  <a:lnTo>
                    <a:pt x="6" y="43"/>
                  </a:lnTo>
                  <a:lnTo>
                    <a:pt x="5" y="45"/>
                  </a:lnTo>
                  <a:lnTo>
                    <a:pt x="4" y="45"/>
                  </a:lnTo>
                  <a:lnTo>
                    <a:pt x="3" y="42"/>
                  </a:lnTo>
                  <a:lnTo>
                    <a:pt x="2" y="42"/>
                  </a:lnTo>
                  <a:lnTo>
                    <a:pt x="0" y="44"/>
                  </a:lnTo>
                  <a:lnTo>
                    <a:pt x="1" y="48"/>
                  </a:lnTo>
                  <a:lnTo>
                    <a:pt x="0" y="51"/>
                  </a:lnTo>
                  <a:lnTo>
                    <a:pt x="2" y="54"/>
                  </a:lnTo>
                  <a:lnTo>
                    <a:pt x="5" y="55"/>
                  </a:lnTo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Freeform 15">
              <a:extLst>
                <a:ext uri="{FF2B5EF4-FFF2-40B4-BE49-F238E27FC236}">
                  <a16:creationId xmlns:a16="http://schemas.microsoft.com/office/drawing/2014/main" id="{094A1468-5CC5-C5F1-E12C-4F6477B8A9D5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093203" y="3474484"/>
              <a:ext cx="1089025" cy="863600"/>
            </a:xfrm>
            <a:custGeom>
              <a:avLst/>
              <a:gdLst>
                <a:gd name="T0" fmla="*/ 2147483647 w 70"/>
                <a:gd name="T1" fmla="*/ 2147483647 h 60"/>
                <a:gd name="T2" fmla="*/ 2147483647 w 70"/>
                <a:gd name="T3" fmla="*/ 2147483647 h 60"/>
                <a:gd name="T4" fmla="*/ 2147483647 w 70"/>
                <a:gd name="T5" fmla="*/ 2147483647 h 60"/>
                <a:gd name="T6" fmla="*/ 2147483647 w 70"/>
                <a:gd name="T7" fmla="*/ 2147483647 h 60"/>
                <a:gd name="T8" fmla="*/ 2147483647 w 70"/>
                <a:gd name="T9" fmla="*/ 2147483647 h 60"/>
                <a:gd name="T10" fmla="*/ 2147483647 w 70"/>
                <a:gd name="T11" fmla="*/ 2147483647 h 60"/>
                <a:gd name="T12" fmla="*/ 2147483647 w 70"/>
                <a:gd name="T13" fmla="*/ 2147483647 h 60"/>
                <a:gd name="T14" fmla="*/ 2147483647 w 70"/>
                <a:gd name="T15" fmla="*/ 2147483647 h 60"/>
                <a:gd name="T16" fmla="*/ 2147483647 w 70"/>
                <a:gd name="T17" fmla="*/ 2147483647 h 60"/>
                <a:gd name="T18" fmla="*/ 2147483647 w 70"/>
                <a:gd name="T19" fmla="*/ 2147483647 h 60"/>
                <a:gd name="T20" fmla="*/ 2147483647 w 70"/>
                <a:gd name="T21" fmla="*/ 2147483647 h 60"/>
                <a:gd name="T22" fmla="*/ 2147483647 w 70"/>
                <a:gd name="T23" fmla="*/ 2147483647 h 60"/>
                <a:gd name="T24" fmla="*/ 2147483647 w 70"/>
                <a:gd name="T25" fmla="*/ 2147483647 h 60"/>
                <a:gd name="T26" fmla="*/ 2147483647 w 70"/>
                <a:gd name="T27" fmla="*/ 2147483647 h 60"/>
                <a:gd name="T28" fmla="*/ 2147483647 w 70"/>
                <a:gd name="T29" fmla="*/ 2147483647 h 60"/>
                <a:gd name="T30" fmla="*/ 2147483647 w 70"/>
                <a:gd name="T31" fmla="*/ 2147483647 h 60"/>
                <a:gd name="T32" fmla="*/ 2147483647 w 70"/>
                <a:gd name="T33" fmla="*/ 2147483647 h 60"/>
                <a:gd name="T34" fmla="*/ 2147483647 w 70"/>
                <a:gd name="T35" fmla="*/ 2147483647 h 60"/>
                <a:gd name="T36" fmla="*/ 2147483647 w 70"/>
                <a:gd name="T37" fmla="*/ 2147483647 h 60"/>
                <a:gd name="T38" fmla="*/ 2147483647 w 70"/>
                <a:gd name="T39" fmla="*/ 2147483647 h 60"/>
                <a:gd name="T40" fmla="*/ 2147483647 w 70"/>
                <a:gd name="T41" fmla="*/ 2147483647 h 60"/>
                <a:gd name="T42" fmla="*/ 0 w 70"/>
                <a:gd name="T43" fmla="*/ 2147483647 h 60"/>
                <a:gd name="T44" fmla="*/ 2147483647 w 70"/>
                <a:gd name="T45" fmla="*/ 2147483647 h 60"/>
                <a:gd name="T46" fmla="*/ 2147483647 w 70"/>
                <a:gd name="T47" fmla="*/ 2147483647 h 60"/>
                <a:gd name="T48" fmla="*/ 2147483647 w 70"/>
                <a:gd name="T49" fmla="*/ 2147483647 h 60"/>
                <a:gd name="T50" fmla="*/ 2147483647 w 70"/>
                <a:gd name="T51" fmla="*/ 2147483647 h 60"/>
                <a:gd name="T52" fmla="*/ 2147483647 w 70"/>
                <a:gd name="T53" fmla="*/ 2147483647 h 60"/>
                <a:gd name="T54" fmla="*/ 2147483647 w 70"/>
                <a:gd name="T55" fmla="*/ 2147483647 h 60"/>
                <a:gd name="T56" fmla="*/ 0 w 70"/>
                <a:gd name="T57" fmla="*/ 2147483647 h 60"/>
                <a:gd name="T58" fmla="*/ 2147483647 w 70"/>
                <a:gd name="T59" fmla="*/ 2147483647 h 60"/>
                <a:gd name="T60" fmla="*/ 2147483647 w 70"/>
                <a:gd name="T61" fmla="*/ 2147483647 h 60"/>
                <a:gd name="T62" fmla="*/ 2147483647 w 70"/>
                <a:gd name="T63" fmla="*/ 2147483647 h 60"/>
                <a:gd name="T64" fmla="*/ 2147483647 w 70"/>
                <a:gd name="T65" fmla="*/ 2147483647 h 60"/>
                <a:gd name="T66" fmla="*/ 2147483647 w 70"/>
                <a:gd name="T67" fmla="*/ 2147483647 h 60"/>
                <a:gd name="T68" fmla="*/ 2147483647 w 70"/>
                <a:gd name="T69" fmla="*/ 2147483647 h 60"/>
                <a:gd name="T70" fmla="*/ 2147483647 w 70"/>
                <a:gd name="T71" fmla="*/ 2147483647 h 60"/>
                <a:gd name="T72" fmla="*/ 2147483647 w 70"/>
                <a:gd name="T73" fmla="*/ 2147483647 h 60"/>
                <a:gd name="T74" fmla="*/ 2147483647 w 70"/>
                <a:gd name="T75" fmla="*/ 2147483647 h 60"/>
                <a:gd name="T76" fmla="*/ 2147483647 w 70"/>
                <a:gd name="T77" fmla="*/ 2147483647 h 60"/>
                <a:gd name="T78" fmla="*/ 2147483647 w 70"/>
                <a:gd name="T79" fmla="*/ 2147483647 h 60"/>
                <a:gd name="T80" fmla="*/ 2147483647 w 70"/>
                <a:gd name="T81" fmla="*/ 2147483647 h 60"/>
                <a:gd name="T82" fmla="*/ 2147483647 w 70"/>
                <a:gd name="T83" fmla="*/ 2147483647 h 6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70"/>
                <a:gd name="T127" fmla="*/ 0 h 60"/>
                <a:gd name="T128" fmla="*/ 70 w 70"/>
                <a:gd name="T129" fmla="*/ 60 h 6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70" h="60">
                  <a:moveTo>
                    <a:pt x="60" y="24"/>
                  </a:moveTo>
                  <a:lnTo>
                    <a:pt x="63" y="23"/>
                  </a:lnTo>
                  <a:lnTo>
                    <a:pt x="63" y="24"/>
                  </a:lnTo>
                  <a:lnTo>
                    <a:pt x="65" y="24"/>
                  </a:lnTo>
                  <a:lnTo>
                    <a:pt x="66" y="25"/>
                  </a:lnTo>
                  <a:lnTo>
                    <a:pt x="67" y="27"/>
                  </a:lnTo>
                  <a:lnTo>
                    <a:pt x="68" y="27"/>
                  </a:lnTo>
                  <a:lnTo>
                    <a:pt x="69" y="28"/>
                  </a:lnTo>
                  <a:lnTo>
                    <a:pt x="70" y="30"/>
                  </a:lnTo>
                  <a:lnTo>
                    <a:pt x="68" y="30"/>
                  </a:lnTo>
                  <a:lnTo>
                    <a:pt x="64" y="34"/>
                  </a:lnTo>
                  <a:lnTo>
                    <a:pt x="62" y="38"/>
                  </a:lnTo>
                  <a:lnTo>
                    <a:pt x="63" y="39"/>
                  </a:lnTo>
                  <a:lnTo>
                    <a:pt x="62" y="40"/>
                  </a:lnTo>
                  <a:lnTo>
                    <a:pt x="59" y="42"/>
                  </a:lnTo>
                  <a:lnTo>
                    <a:pt x="58" y="43"/>
                  </a:lnTo>
                  <a:lnTo>
                    <a:pt x="57" y="45"/>
                  </a:lnTo>
                  <a:lnTo>
                    <a:pt x="56" y="45"/>
                  </a:lnTo>
                  <a:lnTo>
                    <a:pt x="55" y="42"/>
                  </a:lnTo>
                  <a:lnTo>
                    <a:pt x="54" y="42"/>
                  </a:lnTo>
                  <a:lnTo>
                    <a:pt x="52" y="44"/>
                  </a:lnTo>
                  <a:lnTo>
                    <a:pt x="53" y="48"/>
                  </a:lnTo>
                  <a:lnTo>
                    <a:pt x="52" y="51"/>
                  </a:lnTo>
                  <a:lnTo>
                    <a:pt x="50" y="52"/>
                  </a:lnTo>
                  <a:lnTo>
                    <a:pt x="50" y="51"/>
                  </a:lnTo>
                  <a:lnTo>
                    <a:pt x="46" y="52"/>
                  </a:lnTo>
                  <a:lnTo>
                    <a:pt x="42" y="52"/>
                  </a:lnTo>
                  <a:lnTo>
                    <a:pt x="39" y="50"/>
                  </a:lnTo>
                  <a:lnTo>
                    <a:pt x="39" y="48"/>
                  </a:lnTo>
                  <a:lnTo>
                    <a:pt x="38" y="47"/>
                  </a:lnTo>
                  <a:lnTo>
                    <a:pt x="35" y="49"/>
                  </a:lnTo>
                  <a:lnTo>
                    <a:pt x="35" y="51"/>
                  </a:lnTo>
                  <a:lnTo>
                    <a:pt x="36" y="56"/>
                  </a:lnTo>
                  <a:lnTo>
                    <a:pt x="35" y="57"/>
                  </a:lnTo>
                  <a:lnTo>
                    <a:pt x="33" y="57"/>
                  </a:lnTo>
                  <a:lnTo>
                    <a:pt x="32" y="57"/>
                  </a:lnTo>
                  <a:lnTo>
                    <a:pt x="32" y="56"/>
                  </a:lnTo>
                  <a:lnTo>
                    <a:pt x="31" y="54"/>
                  </a:lnTo>
                  <a:lnTo>
                    <a:pt x="30" y="54"/>
                  </a:lnTo>
                  <a:lnTo>
                    <a:pt x="28" y="54"/>
                  </a:lnTo>
                  <a:lnTo>
                    <a:pt x="27" y="53"/>
                  </a:lnTo>
                  <a:lnTo>
                    <a:pt x="24" y="53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5"/>
                  </a:lnTo>
                  <a:lnTo>
                    <a:pt x="21" y="56"/>
                  </a:lnTo>
                  <a:lnTo>
                    <a:pt x="25" y="58"/>
                  </a:lnTo>
                  <a:lnTo>
                    <a:pt x="25" y="59"/>
                  </a:lnTo>
                  <a:lnTo>
                    <a:pt x="22" y="59"/>
                  </a:lnTo>
                  <a:lnTo>
                    <a:pt x="22" y="60"/>
                  </a:lnTo>
                  <a:lnTo>
                    <a:pt x="20" y="60"/>
                  </a:lnTo>
                  <a:lnTo>
                    <a:pt x="18" y="58"/>
                  </a:lnTo>
                  <a:lnTo>
                    <a:pt x="18" y="56"/>
                  </a:lnTo>
                  <a:lnTo>
                    <a:pt x="17" y="55"/>
                  </a:lnTo>
                  <a:lnTo>
                    <a:pt x="15" y="53"/>
                  </a:lnTo>
                  <a:lnTo>
                    <a:pt x="13" y="53"/>
                  </a:lnTo>
                  <a:lnTo>
                    <a:pt x="11" y="50"/>
                  </a:lnTo>
                  <a:lnTo>
                    <a:pt x="8" y="46"/>
                  </a:lnTo>
                  <a:lnTo>
                    <a:pt x="7" y="47"/>
                  </a:lnTo>
                  <a:lnTo>
                    <a:pt x="6" y="46"/>
                  </a:lnTo>
                  <a:lnTo>
                    <a:pt x="4" y="47"/>
                  </a:lnTo>
                  <a:lnTo>
                    <a:pt x="4" y="45"/>
                  </a:lnTo>
                  <a:lnTo>
                    <a:pt x="5" y="44"/>
                  </a:lnTo>
                  <a:lnTo>
                    <a:pt x="4" y="42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1" y="40"/>
                  </a:lnTo>
                  <a:lnTo>
                    <a:pt x="1" y="36"/>
                  </a:lnTo>
                  <a:lnTo>
                    <a:pt x="4" y="35"/>
                  </a:lnTo>
                  <a:lnTo>
                    <a:pt x="4" y="33"/>
                  </a:lnTo>
                  <a:lnTo>
                    <a:pt x="2" y="31"/>
                  </a:lnTo>
                  <a:lnTo>
                    <a:pt x="4" y="30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7" y="28"/>
                  </a:lnTo>
                  <a:lnTo>
                    <a:pt x="8" y="27"/>
                  </a:lnTo>
                  <a:lnTo>
                    <a:pt x="6" y="25"/>
                  </a:lnTo>
                  <a:lnTo>
                    <a:pt x="7" y="23"/>
                  </a:lnTo>
                  <a:lnTo>
                    <a:pt x="8" y="23"/>
                  </a:lnTo>
                  <a:lnTo>
                    <a:pt x="8" y="20"/>
                  </a:lnTo>
                  <a:lnTo>
                    <a:pt x="6" y="20"/>
                  </a:lnTo>
                  <a:lnTo>
                    <a:pt x="4" y="19"/>
                  </a:lnTo>
                  <a:lnTo>
                    <a:pt x="4" y="17"/>
                  </a:lnTo>
                  <a:lnTo>
                    <a:pt x="1" y="16"/>
                  </a:lnTo>
                  <a:lnTo>
                    <a:pt x="0" y="13"/>
                  </a:lnTo>
                  <a:lnTo>
                    <a:pt x="3" y="12"/>
                  </a:lnTo>
                  <a:lnTo>
                    <a:pt x="6" y="11"/>
                  </a:lnTo>
                  <a:lnTo>
                    <a:pt x="10" y="8"/>
                  </a:lnTo>
                  <a:lnTo>
                    <a:pt x="12" y="6"/>
                  </a:lnTo>
                  <a:lnTo>
                    <a:pt x="13" y="4"/>
                  </a:lnTo>
                  <a:lnTo>
                    <a:pt x="16" y="6"/>
                  </a:lnTo>
                  <a:lnTo>
                    <a:pt x="17" y="5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22" y="1"/>
                  </a:lnTo>
                  <a:lnTo>
                    <a:pt x="23" y="2"/>
                  </a:lnTo>
                  <a:lnTo>
                    <a:pt x="24" y="3"/>
                  </a:lnTo>
                  <a:lnTo>
                    <a:pt x="24" y="5"/>
                  </a:lnTo>
                  <a:lnTo>
                    <a:pt x="25" y="7"/>
                  </a:lnTo>
                  <a:lnTo>
                    <a:pt x="27" y="9"/>
                  </a:lnTo>
                  <a:lnTo>
                    <a:pt x="29" y="11"/>
                  </a:lnTo>
                  <a:lnTo>
                    <a:pt x="31" y="12"/>
                  </a:lnTo>
                  <a:lnTo>
                    <a:pt x="33" y="12"/>
                  </a:lnTo>
                  <a:lnTo>
                    <a:pt x="34" y="13"/>
                  </a:lnTo>
                  <a:lnTo>
                    <a:pt x="34" y="15"/>
                  </a:lnTo>
                  <a:lnTo>
                    <a:pt x="29" y="17"/>
                  </a:lnTo>
                  <a:lnTo>
                    <a:pt x="31" y="18"/>
                  </a:lnTo>
                  <a:lnTo>
                    <a:pt x="31" y="20"/>
                  </a:lnTo>
                  <a:lnTo>
                    <a:pt x="33" y="22"/>
                  </a:lnTo>
                  <a:lnTo>
                    <a:pt x="34" y="22"/>
                  </a:lnTo>
                  <a:lnTo>
                    <a:pt x="39" y="21"/>
                  </a:lnTo>
                  <a:lnTo>
                    <a:pt x="40" y="23"/>
                  </a:lnTo>
                  <a:lnTo>
                    <a:pt x="42" y="24"/>
                  </a:lnTo>
                  <a:lnTo>
                    <a:pt x="49" y="24"/>
                  </a:lnTo>
                  <a:lnTo>
                    <a:pt x="50" y="25"/>
                  </a:lnTo>
                  <a:lnTo>
                    <a:pt x="51" y="27"/>
                  </a:lnTo>
                  <a:lnTo>
                    <a:pt x="53" y="27"/>
                  </a:lnTo>
                  <a:lnTo>
                    <a:pt x="55" y="29"/>
                  </a:lnTo>
                  <a:lnTo>
                    <a:pt x="57" y="28"/>
                  </a:lnTo>
                  <a:lnTo>
                    <a:pt x="59" y="28"/>
                  </a:lnTo>
                  <a:lnTo>
                    <a:pt x="60" y="27"/>
                  </a:lnTo>
                  <a:lnTo>
                    <a:pt x="59" y="25"/>
                  </a:lnTo>
                  <a:lnTo>
                    <a:pt x="60" y="24"/>
                  </a:lnTo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Freeform 20">
              <a:extLst>
                <a:ext uri="{FF2B5EF4-FFF2-40B4-BE49-F238E27FC236}">
                  <a16:creationId xmlns:a16="http://schemas.microsoft.com/office/drawing/2014/main" id="{A06D8A31-8A20-0A8B-7802-59BA6394598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390775" y="2679898"/>
              <a:ext cx="1281113" cy="1190625"/>
            </a:xfrm>
            <a:custGeom>
              <a:avLst/>
              <a:gdLst>
                <a:gd name="T0" fmla="*/ 2147483647 w 82"/>
                <a:gd name="T1" fmla="*/ 0 h 83"/>
                <a:gd name="T2" fmla="*/ 2147483647 w 82"/>
                <a:gd name="T3" fmla="*/ 2147483647 h 83"/>
                <a:gd name="T4" fmla="*/ 2147483647 w 82"/>
                <a:gd name="T5" fmla="*/ 2147483647 h 83"/>
                <a:gd name="T6" fmla="*/ 2147483647 w 82"/>
                <a:gd name="T7" fmla="*/ 2147483647 h 83"/>
                <a:gd name="T8" fmla="*/ 2147483647 w 82"/>
                <a:gd name="T9" fmla="*/ 2147483647 h 83"/>
                <a:gd name="T10" fmla="*/ 2147483647 w 82"/>
                <a:gd name="T11" fmla="*/ 2147483647 h 83"/>
                <a:gd name="T12" fmla="*/ 2147483647 w 82"/>
                <a:gd name="T13" fmla="*/ 2147483647 h 83"/>
                <a:gd name="T14" fmla="*/ 2147483647 w 82"/>
                <a:gd name="T15" fmla="*/ 2147483647 h 83"/>
                <a:gd name="T16" fmla="*/ 2147483647 w 82"/>
                <a:gd name="T17" fmla="*/ 2147483647 h 83"/>
                <a:gd name="T18" fmla="*/ 2147483647 w 82"/>
                <a:gd name="T19" fmla="*/ 2147483647 h 83"/>
                <a:gd name="T20" fmla="*/ 2147483647 w 82"/>
                <a:gd name="T21" fmla="*/ 2147483647 h 83"/>
                <a:gd name="T22" fmla="*/ 2147483647 w 82"/>
                <a:gd name="T23" fmla="*/ 2147483647 h 83"/>
                <a:gd name="T24" fmla="*/ 2147483647 w 82"/>
                <a:gd name="T25" fmla="*/ 2147483647 h 83"/>
                <a:gd name="T26" fmla="*/ 2147483647 w 82"/>
                <a:gd name="T27" fmla="*/ 2147483647 h 83"/>
                <a:gd name="T28" fmla="*/ 2147483647 w 82"/>
                <a:gd name="T29" fmla="*/ 2147483647 h 83"/>
                <a:gd name="T30" fmla="*/ 2147483647 w 82"/>
                <a:gd name="T31" fmla="*/ 2147483647 h 83"/>
                <a:gd name="T32" fmla="*/ 2147483647 w 82"/>
                <a:gd name="T33" fmla="*/ 2147483647 h 83"/>
                <a:gd name="T34" fmla="*/ 2147483647 w 82"/>
                <a:gd name="T35" fmla="*/ 2147483647 h 83"/>
                <a:gd name="T36" fmla="*/ 2147483647 w 82"/>
                <a:gd name="T37" fmla="*/ 2147483647 h 83"/>
                <a:gd name="T38" fmla="*/ 2147483647 w 82"/>
                <a:gd name="T39" fmla="*/ 2147483647 h 83"/>
                <a:gd name="T40" fmla="*/ 2147483647 w 82"/>
                <a:gd name="T41" fmla="*/ 2147483647 h 83"/>
                <a:gd name="T42" fmla="*/ 2147483647 w 82"/>
                <a:gd name="T43" fmla="*/ 2147483647 h 83"/>
                <a:gd name="T44" fmla="*/ 2147483647 w 82"/>
                <a:gd name="T45" fmla="*/ 2147483647 h 83"/>
                <a:gd name="T46" fmla="*/ 2147483647 w 82"/>
                <a:gd name="T47" fmla="*/ 2147483647 h 83"/>
                <a:gd name="T48" fmla="*/ 2147483647 w 82"/>
                <a:gd name="T49" fmla="*/ 2147483647 h 83"/>
                <a:gd name="T50" fmla="*/ 2147483647 w 82"/>
                <a:gd name="T51" fmla="*/ 2147483647 h 83"/>
                <a:gd name="T52" fmla="*/ 2147483647 w 82"/>
                <a:gd name="T53" fmla="*/ 2147483647 h 83"/>
                <a:gd name="T54" fmla="*/ 2147483647 w 82"/>
                <a:gd name="T55" fmla="*/ 2147483647 h 83"/>
                <a:gd name="T56" fmla="*/ 2147483647 w 82"/>
                <a:gd name="T57" fmla="*/ 2147483647 h 83"/>
                <a:gd name="T58" fmla="*/ 2147483647 w 82"/>
                <a:gd name="T59" fmla="*/ 2147483647 h 83"/>
                <a:gd name="T60" fmla="*/ 2147483647 w 82"/>
                <a:gd name="T61" fmla="*/ 2147483647 h 83"/>
                <a:gd name="T62" fmla="*/ 2147483647 w 82"/>
                <a:gd name="T63" fmla="*/ 2147483647 h 83"/>
                <a:gd name="T64" fmla="*/ 2147483647 w 82"/>
                <a:gd name="T65" fmla="*/ 2147483647 h 83"/>
                <a:gd name="T66" fmla="*/ 2147483647 w 82"/>
                <a:gd name="T67" fmla="*/ 2147483647 h 83"/>
                <a:gd name="T68" fmla="*/ 2147483647 w 82"/>
                <a:gd name="T69" fmla="*/ 2147483647 h 83"/>
                <a:gd name="T70" fmla="*/ 2147483647 w 82"/>
                <a:gd name="T71" fmla="*/ 2147483647 h 83"/>
                <a:gd name="T72" fmla="*/ 2147483647 w 82"/>
                <a:gd name="T73" fmla="*/ 2147483647 h 83"/>
                <a:gd name="T74" fmla="*/ 2147483647 w 82"/>
                <a:gd name="T75" fmla="*/ 2147483647 h 83"/>
                <a:gd name="T76" fmla="*/ 2147483647 w 82"/>
                <a:gd name="T77" fmla="*/ 2147483647 h 83"/>
                <a:gd name="T78" fmla="*/ 2147483647 w 82"/>
                <a:gd name="T79" fmla="*/ 2147483647 h 83"/>
                <a:gd name="T80" fmla="*/ 2147483647 w 82"/>
                <a:gd name="T81" fmla="*/ 2147483647 h 83"/>
                <a:gd name="T82" fmla="*/ 2147483647 w 82"/>
                <a:gd name="T83" fmla="*/ 2147483647 h 83"/>
                <a:gd name="T84" fmla="*/ 2147483647 w 82"/>
                <a:gd name="T85" fmla="*/ 2147483647 h 83"/>
                <a:gd name="T86" fmla="*/ 2147483647 w 82"/>
                <a:gd name="T87" fmla="*/ 2147483647 h 83"/>
                <a:gd name="T88" fmla="*/ 2147483647 w 82"/>
                <a:gd name="T89" fmla="*/ 2147483647 h 83"/>
                <a:gd name="T90" fmla="*/ 0 w 82"/>
                <a:gd name="T91" fmla="*/ 2147483647 h 83"/>
                <a:gd name="T92" fmla="*/ 2147483647 w 82"/>
                <a:gd name="T93" fmla="*/ 2147483647 h 83"/>
                <a:gd name="T94" fmla="*/ 2147483647 w 82"/>
                <a:gd name="T95" fmla="*/ 2147483647 h 83"/>
                <a:gd name="T96" fmla="*/ 2147483647 w 82"/>
                <a:gd name="T97" fmla="*/ 2147483647 h 83"/>
                <a:gd name="T98" fmla="*/ 2147483647 w 82"/>
                <a:gd name="T99" fmla="*/ 2147483647 h 83"/>
                <a:gd name="T100" fmla="*/ 2147483647 w 82"/>
                <a:gd name="T101" fmla="*/ 2147483647 h 83"/>
                <a:gd name="T102" fmla="*/ 2147483647 w 82"/>
                <a:gd name="T103" fmla="*/ 2147483647 h 83"/>
                <a:gd name="T104" fmla="*/ 2147483647 w 82"/>
                <a:gd name="T105" fmla="*/ 2147483647 h 83"/>
                <a:gd name="T106" fmla="*/ 2147483647 w 82"/>
                <a:gd name="T107" fmla="*/ 2147483647 h 83"/>
                <a:gd name="T108" fmla="*/ 2147483647 w 82"/>
                <a:gd name="T109" fmla="*/ 2147483647 h 83"/>
                <a:gd name="T110" fmla="*/ 2147483647 w 82"/>
                <a:gd name="T111" fmla="*/ 2147483647 h 83"/>
                <a:gd name="T112" fmla="*/ 2147483647 w 82"/>
                <a:gd name="T113" fmla="*/ 2147483647 h 83"/>
                <a:gd name="T114" fmla="*/ 2147483647 w 82"/>
                <a:gd name="T115" fmla="*/ 2147483647 h 83"/>
                <a:gd name="T116" fmla="*/ 2147483647 w 82"/>
                <a:gd name="T117" fmla="*/ 2147483647 h 8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2"/>
                <a:gd name="T178" fmla="*/ 0 h 83"/>
                <a:gd name="T179" fmla="*/ 82 w 82"/>
                <a:gd name="T180" fmla="*/ 83 h 8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2" h="83">
                  <a:moveTo>
                    <a:pt x="24" y="0"/>
                  </a:moveTo>
                  <a:lnTo>
                    <a:pt x="26" y="0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1" y="4"/>
                  </a:lnTo>
                  <a:lnTo>
                    <a:pt x="35" y="6"/>
                  </a:lnTo>
                  <a:lnTo>
                    <a:pt x="36" y="8"/>
                  </a:lnTo>
                  <a:lnTo>
                    <a:pt x="39" y="10"/>
                  </a:lnTo>
                  <a:lnTo>
                    <a:pt x="39" y="12"/>
                  </a:lnTo>
                  <a:lnTo>
                    <a:pt x="42" y="15"/>
                  </a:lnTo>
                  <a:lnTo>
                    <a:pt x="42" y="19"/>
                  </a:lnTo>
                  <a:lnTo>
                    <a:pt x="45" y="21"/>
                  </a:lnTo>
                  <a:lnTo>
                    <a:pt x="45" y="23"/>
                  </a:lnTo>
                  <a:lnTo>
                    <a:pt x="44" y="25"/>
                  </a:lnTo>
                  <a:lnTo>
                    <a:pt x="47" y="28"/>
                  </a:lnTo>
                  <a:lnTo>
                    <a:pt x="47" y="30"/>
                  </a:lnTo>
                  <a:lnTo>
                    <a:pt x="48" y="32"/>
                  </a:lnTo>
                  <a:lnTo>
                    <a:pt x="45" y="34"/>
                  </a:lnTo>
                  <a:lnTo>
                    <a:pt x="42" y="35"/>
                  </a:lnTo>
                  <a:lnTo>
                    <a:pt x="42" y="36"/>
                  </a:lnTo>
                  <a:lnTo>
                    <a:pt x="45" y="39"/>
                  </a:lnTo>
                  <a:lnTo>
                    <a:pt x="49" y="40"/>
                  </a:lnTo>
                  <a:lnTo>
                    <a:pt x="56" y="40"/>
                  </a:lnTo>
                  <a:lnTo>
                    <a:pt x="58" y="40"/>
                  </a:lnTo>
                  <a:lnTo>
                    <a:pt x="63" y="44"/>
                  </a:lnTo>
                  <a:lnTo>
                    <a:pt x="67" y="45"/>
                  </a:lnTo>
                  <a:lnTo>
                    <a:pt x="67" y="46"/>
                  </a:lnTo>
                  <a:lnTo>
                    <a:pt x="73" y="46"/>
                  </a:lnTo>
                  <a:lnTo>
                    <a:pt x="74" y="50"/>
                  </a:lnTo>
                  <a:lnTo>
                    <a:pt x="70" y="54"/>
                  </a:lnTo>
                  <a:lnTo>
                    <a:pt x="74" y="57"/>
                  </a:lnTo>
                  <a:lnTo>
                    <a:pt x="78" y="58"/>
                  </a:lnTo>
                  <a:lnTo>
                    <a:pt x="80" y="58"/>
                  </a:lnTo>
                  <a:lnTo>
                    <a:pt x="82" y="60"/>
                  </a:lnTo>
                  <a:lnTo>
                    <a:pt x="81" y="60"/>
                  </a:lnTo>
                  <a:lnTo>
                    <a:pt x="81" y="62"/>
                  </a:lnTo>
                  <a:lnTo>
                    <a:pt x="82" y="65"/>
                  </a:lnTo>
                  <a:lnTo>
                    <a:pt x="81" y="66"/>
                  </a:lnTo>
                  <a:lnTo>
                    <a:pt x="79" y="66"/>
                  </a:lnTo>
                  <a:lnTo>
                    <a:pt x="74" y="65"/>
                  </a:lnTo>
                  <a:lnTo>
                    <a:pt x="71" y="64"/>
                  </a:lnTo>
                  <a:lnTo>
                    <a:pt x="68" y="64"/>
                  </a:lnTo>
                  <a:lnTo>
                    <a:pt x="64" y="63"/>
                  </a:lnTo>
                  <a:lnTo>
                    <a:pt x="58" y="63"/>
                  </a:lnTo>
                  <a:lnTo>
                    <a:pt x="54" y="63"/>
                  </a:lnTo>
                  <a:lnTo>
                    <a:pt x="51" y="64"/>
                  </a:lnTo>
                  <a:lnTo>
                    <a:pt x="48" y="64"/>
                  </a:lnTo>
                  <a:lnTo>
                    <a:pt x="45" y="64"/>
                  </a:lnTo>
                  <a:lnTo>
                    <a:pt x="43" y="66"/>
                  </a:lnTo>
                  <a:lnTo>
                    <a:pt x="42" y="68"/>
                  </a:lnTo>
                  <a:lnTo>
                    <a:pt x="43" y="72"/>
                  </a:lnTo>
                  <a:lnTo>
                    <a:pt x="41" y="76"/>
                  </a:lnTo>
                  <a:lnTo>
                    <a:pt x="42" y="76"/>
                  </a:lnTo>
                  <a:lnTo>
                    <a:pt x="43" y="78"/>
                  </a:lnTo>
                  <a:lnTo>
                    <a:pt x="42" y="79"/>
                  </a:lnTo>
                  <a:lnTo>
                    <a:pt x="43" y="81"/>
                  </a:lnTo>
                  <a:lnTo>
                    <a:pt x="42" y="82"/>
                  </a:lnTo>
                  <a:lnTo>
                    <a:pt x="40" y="82"/>
                  </a:lnTo>
                  <a:lnTo>
                    <a:pt x="38" y="83"/>
                  </a:lnTo>
                  <a:lnTo>
                    <a:pt x="36" y="81"/>
                  </a:lnTo>
                  <a:lnTo>
                    <a:pt x="34" y="81"/>
                  </a:lnTo>
                  <a:lnTo>
                    <a:pt x="33" y="79"/>
                  </a:lnTo>
                  <a:lnTo>
                    <a:pt x="32" y="78"/>
                  </a:lnTo>
                  <a:lnTo>
                    <a:pt x="25" y="78"/>
                  </a:lnTo>
                  <a:lnTo>
                    <a:pt x="23" y="77"/>
                  </a:lnTo>
                  <a:lnTo>
                    <a:pt x="22" y="75"/>
                  </a:lnTo>
                  <a:lnTo>
                    <a:pt x="17" y="76"/>
                  </a:lnTo>
                  <a:lnTo>
                    <a:pt x="16" y="76"/>
                  </a:lnTo>
                  <a:lnTo>
                    <a:pt x="14" y="74"/>
                  </a:lnTo>
                  <a:lnTo>
                    <a:pt x="14" y="72"/>
                  </a:lnTo>
                  <a:lnTo>
                    <a:pt x="12" y="71"/>
                  </a:lnTo>
                  <a:lnTo>
                    <a:pt x="17" y="69"/>
                  </a:lnTo>
                  <a:lnTo>
                    <a:pt x="17" y="67"/>
                  </a:lnTo>
                  <a:lnTo>
                    <a:pt x="16" y="66"/>
                  </a:lnTo>
                  <a:lnTo>
                    <a:pt x="14" y="66"/>
                  </a:lnTo>
                  <a:lnTo>
                    <a:pt x="12" y="65"/>
                  </a:lnTo>
                  <a:lnTo>
                    <a:pt x="10" y="63"/>
                  </a:lnTo>
                  <a:lnTo>
                    <a:pt x="8" y="61"/>
                  </a:lnTo>
                  <a:lnTo>
                    <a:pt x="7" y="59"/>
                  </a:lnTo>
                  <a:lnTo>
                    <a:pt x="7" y="57"/>
                  </a:lnTo>
                  <a:lnTo>
                    <a:pt x="6" y="56"/>
                  </a:lnTo>
                  <a:lnTo>
                    <a:pt x="5" y="55"/>
                  </a:lnTo>
                  <a:lnTo>
                    <a:pt x="3" y="54"/>
                  </a:lnTo>
                  <a:lnTo>
                    <a:pt x="1" y="52"/>
                  </a:lnTo>
                  <a:lnTo>
                    <a:pt x="0" y="49"/>
                  </a:lnTo>
                  <a:lnTo>
                    <a:pt x="1" y="46"/>
                  </a:lnTo>
                  <a:lnTo>
                    <a:pt x="1" y="44"/>
                  </a:lnTo>
                  <a:lnTo>
                    <a:pt x="1" y="43"/>
                  </a:lnTo>
                  <a:lnTo>
                    <a:pt x="0" y="42"/>
                  </a:lnTo>
                  <a:lnTo>
                    <a:pt x="0" y="41"/>
                  </a:lnTo>
                  <a:lnTo>
                    <a:pt x="2" y="40"/>
                  </a:lnTo>
                  <a:lnTo>
                    <a:pt x="8" y="39"/>
                  </a:lnTo>
                  <a:lnTo>
                    <a:pt x="10" y="39"/>
                  </a:lnTo>
                  <a:lnTo>
                    <a:pt x="9" y="38"/>
                  </a:lnTo>
                  <a:lnTo>
                    <a:pt x="12" y="36"/>
                  </a:lnTo>
                  <a:lnTo>
                    <a:pt x="11" y="34"/>
                  </a:lnTo>
                  <a:lnTo>
                    <a:pt x="12" y="32"/>
                  </a:lnTo>
                  <a:lnTo>
                    <a:pt x="11" y="30"/>
                  </a:lnTo>
                  <a:lnTo>
                    <a:pt x="11" y="29"/>
                  </a:lnTo>
                  <a:lnTo>
                    <a:pt x="12" y="27"/>
                  </a:lnTo>
                  <a:lnTo>
                    <a:pt x="9" y="23"/>
                  </a:lnTo>
                  <a:lnTo>
                    <a:pt x="10" y="22"/>
                  </a:lnTo>
                  <a:lnTo>
                    <a:pt x="9" y="19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5" y="11"/>
                  </a:lnTo>
                  <a:lnTo>
                    <a:pt x="4" y="9"/>
                  </a:lnTo>
                  <a:lnTo>
                    <a:pt x="5" y="8"/>
                  </a:lnTo>
                  <a:lnTo>
                    <a:pt x="8" y="7"/>
                  </a:lnTo>
                  <a:lnTo>
                    <a:pt x="10" y="5"/>
                  </a:lnTo>
                  <a:lnTo>
                    <a:pt x="13" y="5"/>
                  </a:lnTo>
                  <a:lnTo>
                    <a:pt x="16" y="6"/>
                  </a:lnTo>
                  <a:lnTo>
                    <a:pt x="21" y="3"/>
                  </a:lnTo>
                  <a:lnTo>
                    <a:pt x="22" y="1"/>
                  </a:lnTo>
                  <a:lnTo>
                    <a:pt x="24" y="0"/>
                  </a:lnTo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39" name="Group 26">
              <a:extLst>
                <a:ext uri="{FF2B5EF4-FFF2-40B4-BE49-F238E27FC236}">
                  <a16:creationId xmlns:a16="http://schemas.microsoft.com/office/drawing/2014/main" id="{936F5669-DA7A-94D8-649C-D67B7E4DD26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510698" y="2306836"/>
              <a:ext cx="217486" cy="373062"/>
              <a:chOff x="2507" y="1412"/>
              <a:chExt cx="99" cy="184"/>
            </a:xfrm>
            <a:grpFill/>
          </p:grpSpPr>
          <p:sp>
            <p:nvSpPr>
              <p:cNvPr id="42" name="Freeform 27">
                <a:extLst>
                  <a:ext uri="{FF2B5EF4-FFF2-40B4-BE49-F238E27FC236}">
                    <a16:creationId xmlns:a16="http://schemas.microsoft.com/office/drawing/2014/main" id="{216235DF-6EFE-0250-02FE-A2FBABB6E7F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514" y="1412"/>
                <a:ext cx="35" cy="57"/>
              </a:xfrm>
              <a:custGeom>
                <a:avLst/>
                <a:gdLst>
                  <a:gd name="T0" fmla="*/ 49 w 5"/>
                  <a:gd name="T1" fmla="*/ 50 h 8"/>
                  <a:gd name="T2" fmla="*/ 196 w 5"/>
                  <a:gd name="T3" fmla="*/ 0 h 8"/>
                  <a:gd name="T4" fmla="*/ 0 w 5"/>
                  <a:gd name="T5" fmla="*/ 306 h 8"/>
                  <a:gd name="T6" fmla="*/ 49 w 5"/>
                  <a:gd name="T7" fmla="*/ 50 h 8"/>
                  <a:gd name="T8" fmla="*/ 49 w 5"/>
                  <a:gd name="T9" fmla="*/ 50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8"/>
                  <a:gd name="T17" fmla="*/ 5 w 5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8">
                    <a:moveTo>
                      <a:pt x="1" y="1"/>
                    </a:moveTo>
                    <a:cubicBezTo>
                      <a:pt x="2" y="1"/>
                      <a:pt x="3" y="1"/>
                      <a:pt x="4" y="0"/>
                    </a:cubicBezTo>
                    <a:cubicBezTo>
                      <a:pt x="5" y="6"/>
                      <a:pt x="2" y="8"/>
                      <a:pt x="0" y="6"/>
                    </a:cubicBezTo>
                    <a:cubicBezTo>
                      <a:pt x="2" y="5"/>
                      <a:pt x="3" y="4"/>
                      <a:pt x="1" y="1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43" name="Freeform 28">
                <a:extLst>
                  <a:ext uri="{FF2B5EF4-FFF2-40B4-BE49-F238E27FC236}">
                    <a16:creationId xmlns:a16="http://schemas.microsoft.com/office/drawing/2014/main" id="{92C63130-33AF-2C3F-5E4F-A9816D1F2334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507" y="1525"/>
                <a:ext cx="99" cy="71"/>
              </a:xfrm>
              <a:custGeom>
                <a:avLst/>
                <a:gdLst>
                  <a:gd name="T0" fmla="*/ 99 w 14"/>
                  <a:gd name="T1" fmla="*/ 50 h 10"/>
                  <a:gd name="T2" fmla="*/ 149 w 14"/>
                  <a:gd name="T3" fmla="*/ 50 h 10"/>
                  <a:gd name="T4" fmla="*/ 297 w 14"/>
                  <a:gd name="T5" fmla="*/ 99 h 10"/>
                  <a:gd name="T6" fmla="*/ 453 w 14"/>
                  <a:gd name="T7" fmla="*/ 149 h 10"/>
                  <a:gd name="T8" fmla="*/ 502 w 14"/>
                  <a:gd name="T9" fmla="*/ 199 h 10"/>
                  <a:gd name="T10" fmla="*/ 601 w 14"/>
                  <a:gd name="T11" fmla="*/ 256 h 10"/>
                  <a:gd name="T12" fmla="*/ 651 w 14"/>
                  <a:gd name="T13" fmla="*/ 305 h 10"/>
                  <a:gd name="T14" fmla="*/ 651 w 14"/>
                  <a:gd name="T15" fmla="*/ 405 h 10"/>
                  <a:gd name="T16" fmla="*/ 552 w 14"/>
                  <a:gd name="T17" fmla="*/ 504 h 10"/>
                  <a:gd name="T18" fmla="*/ 403 w 14"/>
                  <a:gd name="T19" fmla="*/ 454 h 10"/>
                  <a:gd name="T20" fmla="*/ 354 w 14"/>
                  <a:gd name="T21" fmla="*/ 405 h 10"/>
                  <a:gd name="T22" fmla="*/ 248 w 14"/>
                  <a:gd name="T23" fmla="*/ 305 h 10"/>
                  <a:gd name="T24" fmla="*/ 149 w 14"/>
                  <a:gd name="T25" fmla="*/ 149 h 10"/>
                  <a:gd name="T26" fmla="*/ 0 w 14"/>
                  <a:gd name="T27" fmla="*/ 50 h 10"/>
                  <a:gd name="T28" fmla="*/ 99 w 14"/>
                  <a:gd name="T29" fmla="*/ 50 h 1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4"/>
                  <a:gd name="T46" fmla="*/ 0 h 10"/>
                  <a:gd name="T47" fmla="*/ 14 w 14"/>
                  <a:gd name="T48" fmla="*/ 10 h 1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4" h="10">
                    <a:moveTo>
                      <a:pt x="2" y="1"/>
                    </a:moveTo>
                    <a:cubicBezTo>
                      <a:pt x="2" y="0"/>
                      <a:pt x="3" y="1"/>
                      <a:pt x="3" y="1"/>
                    </a:cubicBezTo>
                    <a:cubicBezTo>
                      <a:pt x="3" y="2"/>
                      <a:pt x="5" y="1"/>
                      <a:pt x="6" y="2"/>
                    </a:cubicBezTo>
                    <a:cubicBezTo>
                      <a:pt x="7" y="3"/>
                      <a:pt x="8" y="2"/>
                      <a:pt x="9" y="3"/>
                    </a:cubicBezTo>
                    <a:cubicBezTo>
                      <a:pt x="10" y="3"/>
                      <a:pt x="10" y="5"/>
                      <a:pt x="10" y="4"/>
                    </a:cubicBezTo>
                    <a:cubicBezTo>
                      <a:pt x="11" y="2"/>
                      <a:pt x="14" y="5"/>
                      <a:pt x="12" y="5"/>
                    </a:cubicBezTo>
                    <a:cubicBezTo>
                      <a:pt x="12" y="6"/>
                      <a:pt x="13" y="6"/>
                      <a:pt x="13" y="6"/>
                    </a:cubicBezTo>
                    <a:cubicBezTo>
                      <a:pt x="13" y="7"/>
                      <a:pt x="11" y="7"/>
                      <a:pt x="13" y="8"/>
                    </a:cubicBezTo>
                    <a:cubicBezTo>
                      <a:pt x="12" y="10"/>
                      <a:pt x="12" y="10"/>
                      <a:pt x="11" y="10"/>
                    </a:cubicBezTo>
                    <a:cubicBezTo>
                      <a:pt x="10" y="9"/>
                      <a:pt x="8" y="10"/>
                      <a:pt x="8" y="9"/>
                    </a:cubicBezTo>
                    <a:cubicBezTo>
                      <a:pt x="8" y="9"/>
                      <a:pt x="7" y="9"/>
                      <a:pt x="7" y="8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4" y="6"/>
                      <a:pt x="3" y="5"/>
                      <a:pt x="3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1" y="0"/>
                      <a:pt x="2" y="1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</p:grpSp>
      </p:grpSp>
      <p:sp>
        <p:nvSpPr>
          <p:cNvPr id="1043" name="Ellipse 1042">
            <a:extLst>
              <a:ext uri="{FF2B5EF4-FFF2-40B4-BE49-F238E27FC236}">
                <a16:creationId xmlns:a16="http://schemas.microsoft.com/office/drawing/2014/main" id="{6D04CBD0-214C-0255-0024-270DF9633386}"/>
              </a:ext>
            </a:extLst>
          </p:cNvPr>
          <p:cNvSpPr/>
          <p:nvPr/>
        </p:nvSpPr>
        <p:spPr>
          <a:xfrm>
            <a:off x="5856624" y="3240305"/>
            <a:ext cx="360000" cy="36004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44" name="Ellipse 1043">
            <a:extLst>
              <a:ext uri="{FF2B5EF4-FFF2-40B4-BE49-F238E27FC236}">
                <a16:creationId xmlns:a16="http://schemas.microsoft.com/office/drawing/2014/main" id="{842EC0B4-F1DD-E8BD-9FC6-314236FE6F76}"/>
              </a:ext>
            </a:extLst>
          </p:cNvPr>
          <p:cNvSpPr/>
          <p:nvPr/>
        </p:nvSpPr>
        <p:spPr>
          <a:xfrm>
            <a:off x="7067284" y="4690925"/>
            <a:ext cx="360000" cy="3600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45" name="Ellipse 1044">
            <a:extLst>
              <a:ext uri="{FF2B5EF4-FFF2-40B4-BE49-F238E27FC236}">
                <a16:creationId xmlns:a16="http://schemas.microsoft.com/office/drawing/2014/main" id="{5AB2386F-9AE0-8369-208F-C26DE051843D}"/>
              </a:ext>
            </a:extLst>
          </p:cNvPr>
          <p:cNvSpPr/>
          <p:nvPr/>
        </p:nvSpPr>
        <p:spPr>
          <a:xfrm>
            <a:off x="6648296" y="4129236"/>
            <a:ext cx="360000" cy="360040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40FC2FD3-0EDD-EB5E-8FA1-E0997EDC139E}"/>
              </a:ext>
            </a:extLst>
          </p:cNvPr>
          <p:cNvGrpSpPr/>
          <p:nvPr/>
        </p:nvGrpSpPr>
        <p:grpSpPr>
          <a:xfrm>
            <a:off x="1624507" y="2624295"/>
            <a:ext cx="735379" cy="718607"/>
            <a:chOff x="1484670" y="2694817"/>
            <a:chExt cx="735379" cy="718607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DA7CEA3F-1229-5660-0AF1-B801EB86B779}"/>
                </a:ext>
              </a:extLst>
            </p:cNvPr>
            <p:cNvGrpSpPr/>
            <p:nvPr/>
          </p:nvGrpSpPr>
          <p:grpSpPr>
            <a:xfrm>
              <a:off x="1484670" y="2694817"/>
              <a:ext cx="375547" cy="614597"/>
              <a:chOff x="9870656" y="4436810"/>
              <a:chExt cx="1113505" cy="1822293"/>
            </a:xfrm>
          </p:grpSpPr>
          <p:sp>
            <p:nvSpPr>
              <p:cNvPr id="16" name="Freihandform 78">
                <a:extLst>
                  <a:ext uri="{FF2B5EF4-FFF2-40B4-BE49-F238E27FC236}">
                    <a16:creationId xmlns:a16="http://schemas.microsoft.com/office/drawing/2014/main" id="{64724EDB-CD57-9DA2-7317-69ADEB9E5241}"/>
                  </a:ext>
                </a:extLst>
              </p:cNvPr>
              <p:cNvSpPr/>
              <p:nvPr/>
            </p:nvSpPr>
            <p:spPr>
              <a:xfrm>
                <a:off x="9870656" y="4614668"/>
                <a:ext cx="1113505" cy="1644435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7" name="Gruppieren 16">
                <a:extLst>
                  <a:ext uri="{FF2B5EF4-FFF2-40B4-BE49-F238E27FC236}">
                    <a16:creationId xmlns:a16="http://schemas.microsoft.com/office/drawing/2014/main" id="{FBCDEAAF-3651-B33F-4A0C-50D057F7C9A0}"/>
                  </a:ext>
                </a:extLst>
              </p:cNvPr>
              <p:cNvGrpSpPr/>
              <p:nvPr/>
            </p:nvGrpSpPr>
            <p:grpSpPr>
              <a:xfrm>
                <a:off x="9902047" y="4436810"/>
                <a:ext cx="1043721" cy="546975"/>
                <a:chOff x="8472264" y="2426134"/>
                <a:chExt cx="1043721" cy="546975"/>
              </a:xfrm>
            </p:grpSpPr>
            <p:sp>
              <p:nvSpPr>
                <p:cNvPr id="18" name="Freihandform: Form 17">
                  <a:extLst>
                    <a:ext uri="{FF2B5EF4-FFF2-40B4-BE49-F238E27FC236}">
                      <a16:creationId xmlns:a16="http://schemas.microsoft.com/office/drawing/2014/main" id="{FD0EA036-6E1C-C35D-0761-C10DE52D3FB6}"/>
                    </a:ext>
                  </a:extLst>
                </p:cNvPr>
                <p:cNvSpPr/>
                <p:nvPr/>
              </p:nvSpPr>
              <p:spPr>
                <a:xfrm>
                  <a:off x="8599858" y="2459698"/>
                  <a:ext cx="792088" cy="470009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9" name="Freihandform: Form 18" descr="Bauarbeiter Silhouette">
                  <a:extLst>
                    <a:ext uri="{FF2B5EF4-FFF2-40B4-BE49-F238E27FC236}">
                      <a16:creationId xmlns:a16="http://schemas.microsoft.com/office/drawing/2014/main" id="{55146ABE-27D8-F707-0A10-89ABFE2AC1DA}"/>
                    </a:ext>
                  </a:extLst>
                </p:cNvPr>
                <p:cNvSpPr/>
                <p:nvPr/>
              </p:nvSpPr>
              <p:spPr>
                <a:xfrm>
                  <a:off x="8472264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A36267F5-108F-345E-522D-4DBB2C535C34}"/>
                </a:ext>
              </a:extLst>
            </p:cNvPr>
            <p:cNvGrpSpPr/>
            <p:nvPr/>
          </p:nvGrpSpPr>
          <p:grpSpPr>
            <a:xfrm>
              <a:off x="1909967" y="2887862"/>
              <a:ext cx="310082" cy="525562"/>
              <a:chOff x="11067982" y="4739041"/>
              <a:chExt cx="783930" cy="1328694"/>
            </a:xfrm>
          </p:grpSpPr>
          <p:sp>
            <p:nvSpPr>
              <p:cNvPr id="21" name="Freihandform 76">
                <a:extLst>
                  <a:ext uri="{FF2B5EF4-FFF2-40B4-BE49-F238E27FC236}">
                    <a16:creationId xmlns:a16="http://schemas.microsoft.com/office/drawing/2014/main" id="{A6D7CDDE-90C1-B48F-41A5-9C27F9349662}"/>
                  </a:ext>
                </a:extLst>
              </p:cNvPr>
              <p:cNvSpPr/>
              <p:nvPr/>
            </p:nvSpPr>
            <p:spPr>
              <a:xfrm>
                <a:off x="11067982" y="4910022"/>
                <a:ext cx="783930" cy="1157713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586622A1-0555-D919-6807-A06C18B0910F}"/>
                  </a:ext>
                </a:extLst>
              </p:cNvPr>
              <p:cNvGrpSpPr/>
              <p:nvPr/>
            </p:nvGrpSpPr>
            <p:grpSpPr>
              <a:xfrm>
                <a:off x="11078280" y="4739041"/>
                <a:ext cx="768383" cy="402681"/>
                <a:chOff x="9650969" y="2426134"/>
                <a:chExt cx="1043720" cy="546975"/>
              </a:xfrm>
            </p:grpSpPr>
            <p:sp>
              <p:nvSpPr>
                <p:cNvPr id="26" name="Freihandform: Form 25">
                  <a:extLst>
                    <a:ext uri="{FF2B5EF4-FFF2-40B4-BE49-F238E27FC236}">
                      <a16:creationId xmlns:a16="http://schemas.microsoft.com/office/drawing/2014/main" id="{FF78B7E5-73A7-2C6F-FB17-DD666269768A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27" name="Freihandform: Form 26" descr="Bauarbeiter Silhouette">
                  <a:extLst>
                    <a:ext uri="{FF2B5EF4-FFF2-40B4-BE49-F238E27FC236}">
                      <a16:creationId xmlns:a16="http://schemas.microsoft.com/office/drawing/2014/main" id="{11B15AF6-95DB-9B29-6F9C-94401B026D9F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1030" name="Ellipse 1029">
            <a:extLst>
              <a:ext uri="{FF2B5EF4-FFF2-40B4-BE49-F238E27FC236}">
                <a16:creationId xmlns:a16="http://schemas.microsoft.com/office/drawing/2014/main" id="{3B01DF40-99DE-F686-9E89-4FA2DAB4EEF0}"/>
              </a:ext>
            </a:extLst>
          </p:cNvPr>
          <p:cNvSpPr/>
          <p:nvPr/>
        </p:nvSpPr>
        <p:spPr>
          <a:xfrm>
            <a:off x="213563" y="5723779"/>
            <a:ext cx="180000" cy="18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31" name="Ellipse 1030">
            <a:extLst>
              <a:ext uri="{FF2B5EF4-FFF2-40B4-BE49-F238E27FC236}">
                <a16:creationId xmlns:a16="http://schemas.microsoft.com/office/drawing/2014/main" id="{3E17E17D-D889-6E93-38BC-52BD5816C3EA}"/>
              </a:ext>
            </a:extLst>
          </p:cNvPr>
          <p:cNvSpPr/>
          <p:nvPr/>
        </p:nvSpPr>
        <p:spPr>
          <a:xfrm>
            <a:off x="213563" y="5998348"/>
            <a:ext cx="180000" cy="180000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32" name="Ellipse 1031">
            <a:extLst>
              <a:ext uri="{FF2B5EF4-FFF2-40B4-BE49-F238E27FC236}">
                <a16:creationId xmlns:a16="http://schemas.microsoft.com/office/drawing/2014/main" id="{9F509093-5500-2164-81E3-D3521EF473CB}"/>
              </a:ext>
            </a:extLst>
          </p:cNvPr>
          <p:cNvSpPr/>
          <p:nvPr/>
        </p:nvSpPr>
        <p:spPr>
          <a:xfrm>
            <a:off x="213563" y="6272917"/>
            <a:ext cx="180000" cy="180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33" name="Textfeld 1032">
            <a:extLst>
              <a:ext uri="{FF2B5EF4-FFF2-40B4-BE49-F238E27FC236}">
                <a16:creationId xmlns:a16="http://schemas.microsoft.com/office/drawing/2014/main" id="{AD4C37E0-9DA5-F164-6BEF-6BF08382F203}"/>
              </a:ext>
            </a:extLst>
          </p:cNvPr>
          <p:cNvSpPr txBox="1"/>
          <p:nvPr/>
        </p:nvSpPr>
        <p:spPr>
          <a:xfrm>
            <a:off x="487020" y="5682974"/>
            <a:ext cx="967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/>
              <a:t>MIBRAG</a:t>
            </a:r>
          </a:p>
        </p:txBody>
      </p:sp>
      <p:sp>
        <p:nvSpPr>
          <p:cNvPr id="1034" name="Textfeld 1033">
            <a:extLst>
              <a:ext uri="{FF2B5EF4-FFF2-40B4-BE49-F238E27FC236}">
                <a16:creationId xmlns:a16="http://schemas.microsoft.com/office/drawing/2014/main" id="{D79EEA78-ECD8-5B76-1484-3F55B55351DD}"/>
              </a:ext>
            </a:extLst>
          </p:cNvPr>
          <p:cNvSpPr txBox="1"/>
          <p:nvPr/>
        </p:nvSpPr>
        <p:spPr>
          <a:xfrm>
            <a:off x="494806" y="5957543"/>
            <a:ext cx="7089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/>
              <a:t>SEG</a:t>
            </a:r>
          </a:p>
        </p:txBody>
      </p:sp>
      <p:sp>
        <p:nvSpPr>
          <p:cNvPr id="1035" name="Textfeld 1034">
            <a:extLst>
              <a:ext uri="{FF2B5EF4-FFF2-40B4-BE49-F238E27FC236}">
                <a16:creationId xmlns:a16="http://schemas.microsoft.com/office/drawing/2014/main" id="{B22BF449-E904-6174-AE32-7E9C6FE029FE}"/>
              </a:ext>
            </a:extLst>
          </p:cNvPr>
          <p:cNvSpPr txBox="1"/>
          <p:nvPr/>
        </p:nvSpPr>
        <p:spPr>
          <a:xfrm>
            <a:off x="487020" y="6232112"/>
            <a:ext cx="5658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/>
              <a:t>HSR </a:t>
            </a:r>
          </a:p>
        </p:txBody>
      </p: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A3C22257-4347-612F-4FF4-ED0487374001}"/>
              </a:ext>
            </a:extLst>
          </p:cNvPr>
          <p:cNvGrpSpPr/>
          <p:nvPr/>
        </p:nvGrpSpPr>
        <p:grpSpPr>
          <a:xfrm>
            <a:off x="2099329" y="5313364"/>
            <a:ext cx="1099828" cy="749914"/>
            <a:chOff x="2060777" y="4831456"/>
            <a:chExt cx="1099828" cy="749914"/>
          </a:xfrm>
        </p:grpSpPr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972CD1DB-7960-B93C-1740-E48916C16C5F}"/>
                </a:ext>
              </a:extLst>
            </p:cNvPr>
            <p:cNvGrpSpPr/>
            <p:nvPr/>
          </p:nvGrpSpPr>
          <p:grpSpPr>
            <a:xfrm>
              <a:off x="2060777" y="4831456"/>
              <a:ext cx="375547" cy="614597"/>
              <a:chOff x="9870656" y="4436810"/>
              <a:chExt cx="1113505" cy="1822293"/>
            </a:xfrm>
          </p:grpSpPr>
          <p:sp>
            <p:nvSpPr>
              <p:cNvPr id="29" name="Freihandform 78">
                <a:extLst>
                  <a:ext uri="{FF2B5EF4-FFF2-40B4-BE49-F238E27FC236}">
                    <a16:creationId xmlns:a16="http://schemas.microsoft.com/office/drawing/2014/main" id="{90A8DFFC-C8DF-44F0-8433-02813E149349}"/>
                  </a:ext>
                </a:extLst>
              </p:cNvPr>
              <p:cNvSpPr/>
              <p:nvPr/>
            </p:nvSpPr>
            <p:spPr>
              <a:xfrm>
                <a:off x="9870656" y="4614668"/>
                <a:ext cx="1113505" cy="1644435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30" name="Gruppieren 29">
                <a:extLst>
                  <a:ext uri="{FF2B5EF4-FFF2-40B4-BE49-F238E27FC236}">
                    <a16:creationId xmlns:a16="http://schemas.microsoft.com/office/drawing/2014/main" id="{38A6D45F-55C8-E65B-0D33-5B6474F74D48}"/>
                  </a:ext>
                </a:extLst>
              </p:cNvPr>
              <p:cNvGrpSpPr/>
              <p:nvPr/>
            </p:nvGrpSpPr>
            <p:grpSpPr>
              <a:xfrm>
                <a:off x="9902047" y="4436810"/>
                <a:ext cx="1043720" cy="546975"/>
                <a:chOff x="8472264" y="2426134"/>
                <a:chExt cx="1043720" cy="546975"/>
              </a:xfrm>
            </p:grpSpPr>
            <p:sp>
              <p:nvSpPr>
                <p:cNvPr id="33" name="Freihandform: Form 32">
                  <a:extLst>
                    <a:ext uri="{FF2B5EF4-FFF2-40B4-BE49-F238E27FC236}">
                      <a16:creationId xmlns:a16="http://schemas.microsoft.com/office/drawing/2014/main" id="{FA06127D-E552-45C4-940F-5A052DCD3BE2}"/>
                    </a:ext>
                  </a:extLst>
                </p:cNvPr>
                <p:cNvSpPr/>
                <p:nvPr/>
              </p:nvSpPr>
              <p:spPr>
                <a:xfrm>
                  <a:off x="8599858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5" name="Freihandform: Form 34" descr="Bauarbeiter Silhouette">
                  <a:extLst>
                    <a:ext uri="{FF2B5EF4-FFF2-40B4-BE49-F238E27FC236}">
                      <a16:creationId xmlns:a16="http://schemas.microsoft.com/office/drawing/2014/main" id="{114DE1E8-A6FC-36FD-A5AC-B977985FF491}"/>
                    </a:ext>
                  </a:extLst>
                </p:cNvPr>
                <p:cNvSpPr/>
                <p:nvPr/>
              </p:nvSpPr>
              <p:spPr>
                <a:xfrm>
                  <a:off x="8472264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1036" name="Gruppieren 1035">
              <a:extLst>
                <a:ext uri="{FF2B5EF4-FFF2-40B4-BE49-F238E27FC236}">
                  <a16:creationId xmlns:a16="http://schemas.microsoft.com/office/drawing/2014/main" id="{85507543-12F2-B545-41FC-07591CA035B6}"/>
                </a:ext>
              </a:extLst>
            </p:cNvPr>
            <p:cNvGrpSpPr/>
            <p:nvPr/>
          </p:nvGrpSpPr>
          <p:grpSpPr>
            <a:xfrm>
              <a:off x="2480495" y="5055808"/>
              <a:ext cx="310082" cy="525562"/>
              <a:chOff x="11067982" y="4739041"/>
              <a:chExt cx="783930" cy="1328694"/>
            </a:xfrm>
          </p:grpSpPr>
          <p:sp>
            <p:nvSpPr>
              <p:cNvPr id="1037" name="Freihandform 76">
                <a:extLst>
                  <a:ext uri="{FF2B5EF4-FFF2-40B4-BE49-F238E27FC236}">
                    <a16:creationId xmlns:a16="http://schemas.microsoft.com/office/drawing/2014/main" id="{D5B7AB0B-A5AB-D476-577B-EB61080723B2}"/>
                  </a:ext>
                </a:extLst>
              </p:cNvPr>
              <p:cNvSpPr/>
              <p:nvPr/>
            </p:nvSpPr>
            <p:spPr>
              <a:xfrm>
                <a:off x="11067982" y="4910022"/>
                <a:ext cx="783930" cy="1157713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038" name="Gruppieren 1037">
                <a:extLst>
                  <a:ext uri="{FF2B5EF4-FFF2-40B4-BE49-F238E27FC236}">
                    <a16:creationId xmlns:a16="http://schemas.microsoft.com/office/drawing/2014/main" id="{8FAB1570-00E7-0A3B-EE3D-8FC92106F29C}"/>
                  </a:ext>
                </a:extLst>
              </p:cNvPr>
              <p:cNvGrpSpPr/>
              <p:nvPr/>
            </p:nvGrpSpPr>
            <p:grpSpPr>
              <a:xfrm>
                <a:off x="11078280" y="4739041"/>
                <a:ext cx="768383" cy="402681"/>
                <a:chOff x="9650969" y="2426134"/>
                <a:chExt cx="1043720" cy="546975"/>
              </a:xfrm>
            </p:grpSpPr>
            <p:sp>
              <p:nvSpPr>
                <p:cNvPr id="1039" name="Freihandform: Form 1038">
                  <a:extLst>
                    <a:ext uri="{FF2B5EF4-FFF2-40B4-BE49-F238E27FC236}">
                      <a16:creationId xmlns:a16="http://schemas.microsoft.com/office/drawing/2014/main" id="{077B52EE-7338-1AA5-11F7-E7973FA68405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40" name="Freihandform: Form 1039" descr="Bauarbeiter Silhouette">
                  <a:extLst>
                    <a:ext uri="{FF2B5EF4-FFF2-40B4-BE49-F238E27FC236}">
                      <a16:creationId xmlns:a16="http://schemas.microsoft.com/office/drawing/2014/main" id="{01EA07D4-B249-7726-4119-FE51C4AF3122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1041" name="Gruppieren 1040">
              <a:extLst>
                <a:ext uri="{FF2B5EF4-FFF2-40B4-BE49-F238E27FC236}">
                  <a16:creationId xmlns:a16="http://schemas.microsoft.com/office/drawing/2014/main" id="{1E250901-D9E2-2BEF-F82D-5EBD0B6CD068}"/>
                </a:ext>
              </a:extLst>
            </p:cNvPr>
            <p:cNvGrpSpPr/>
            <p:nvPr/>
          </p:nvGrpSpPr>
          <p:grpSpPr>
            <a:xfrm>
              <a:off x="2850523" y="5055808"/>
              <a:ext cx="310082" cy="525562"/>
              <a:chOff x="11067982" y="4739041"/>
              <a:chExt cx="783930" cy="1328694"/>
            </a:xfrm>
          </p:grpSpPr>
          <p:sp>
            <p:nvSpPr>
              <p:cNvPr id="1042" name="Freihandform 76">
                <a:extLst>
                  <a:ext uri="{FF2B5EF4-FFF2-40B4-BE49-F238E27FC236}">
                    <a16:creationId xmlns:a16="http://schemas.microsoft.com/office/drawing/2014/main" id="{807940A6-C3F4-6B69-7B14-211053D29B43}"/>
                  </a:ext>
                </a:extLst>
              </p:cNvPr>
              <p:cNvSpPr/>
              <p:nvPr/>
            </p:nvSpPr>
            <p:spPr>
              <a:xfrm>
                <a:off x="11067982" y="4910022"/>
                <a:ext cx="783930" cy="1157713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049" name="Gruppieren 1048">
                <a:extLst>
                  <a:ext uri="{FF2B5EF4-FFF2-40B4-BE49-F238E27FC236}">
                    <a16:creationId xmlns:a16="http://schemas.microsoft.com/office/drawing/2014/main" id="{5E17C38A-C237-F7E4-AE39-33B58D2A303C}"/>
                  </a:ext>
                </a:extLst>
              </p:cNvPr>
              <p:cNvGrpSpPr/>
              <p:nvPr/>
            </p:nvGrpSpPr>
            <p:grpSpPr>
              <a:xfrm>
                <a:off x="11078280" y="4739041"/>
                <a:ext cx="768383" cy="402681"/>
                <a:chOff x="9650969" y="2426134"/>
                <a:chExt cx="1043720" cy="546975"/>
              </a:xfrm>
            </p:grpSpPr>
            <p:sp>
              <p:nvSpPr>
                <p:cNvPr id="1053" name="Freihandform: Form 1052">
                  <a:extLst>
                    <a:ext uri="{FF2B5EF4-FFF2-40B4-BE49-F238E27FC236}">
                      <a16:creationId xmlns:a16="http://schemas.microsoft.com/office/drawing/2014/main" id="{185A5ED5-022C-EC1A-320E-461A0F85AF70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54" name="Freihandform: Form 1053" descr="Bauarbeiter Silhouette">
                  <a:extLst>
                    <a:ext uri="{FF2B5EF4-FFF2-40B4-BE49-F238E27FC236}">
                      <a16:creationId xmlns:a16="http://schemas.microsoft.com/office/drawing/2014/main" id="{45FA645E-D1E3-D9CD-C67D-EE0F85DD4FB3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7D8620BE-0296-8034-D9B4-4086A0BBD9F1}"/>
              </a:ext>
            </a:extLst>
          </p:cNvPr>
          <p:cNvGrpSpPr/>
          <p:nvPr/>
        </p:nvGrpSpPr>
        <p:grpSpPr>
          <a:xfrm>
            <a:off x="9142542" y="2322128"/>
            <a:ext cx="1693677" cy="1099681"/>
            <a:chOff x="8816761" y="1181592"/>
            <a:chExt cx="1693677" cy="1099681"/>
          </a:xfrm>
        </p:grpSpPr>
        <p:grpSp>
          <p:nvGrpSpPr>
            <p:cNvPr id="1233" name="Gruppieren 1232">
              <a:extLst>
                <a:ext uri="{FF2B5EF4-FFF2-40B4-BE49-F238E27FC236}">
                  <a16:creationId xmlns:a16="http://schemas.microsoft.com/office/drawing/2014/main" id="{313B301F-B368-E3FC-9E49-DBA6A9429EF1}"/>
                </a:ext>
              </a:extLst>
            </p:cNvPr>
            <p:cNvGrpSpPr/>
            <p:nvPr/>
          </p:nvGrpSpPr>
          <p:grpSpPr>
            <a:xfrm>
              <a:off x="8816761" y="1348062"/>
              <a:ext cx="481438" cy="758299"/>
              <a:chOff x="4987674" y="4436810"/>
              <a:chExt cx="1110149" cy="1748563"/>
            </a:xfrm>
          </p:grpSpPr>
          <p:sp>
            <p:nvSpPr>
              <p:cNvPr id="1234" name="Freihandform: Form 1233">
                <a:extLst>
                  <a:ext uri="{FF2B5EF4-FFF2-40B4-BE49-F238E27FC236}">
                    <a16:creationId xmlns:a16="http://schemas.microsoft.com/office/drawing/2014/main" id="{9B953BED-E8DB-D44C-0EDD-BED3CC63A82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987674" y="5357005"/>
                <a:ext cx="1110149" cy="828368"/>
              </a:xfrm>
              <a:custGeom>
                <a:avLst/>
                <a:gdLst>
                  <a:gd name="connsiteX0" fmla="*/ 303228 w 1091862"/>
                  <a:gd name="connsiteY0" fmla="*/ 0 h 814723"/>
                  <a:gd name="connsiteX1" fmla="*/ 545931 w 1091862"/>
                  <a:gd name="connsiteY1" fmla="*/ 350583 h 814723"/>
                  <a:gd name="connsiteX2" fmla="*/ 788635 w 1091862"/>
                  <a:gd name="connsiteY2" fmla="*/ 0 h 814723"/>
                  <a:gd name="connsiteX3" fmla="*/ 798915 w 1091862"/>
                  <a:gd name="connsiteY3" fmla="*/ 540 h 814723"/>
                  <a:gd name="connsiteX4" fmla="*/ 1091862 w 1091862"/>
                  <a:gd name="connsiteY4" fmla="*/ 187833 h 814723"/>
                  <a:gd name="connsiteX5" fmla="*/ 1091862 w 1091862"/>
                  <a:gd name="connsiteY5" fmla="*/ 625842 h 814723"/>
                  <a:gd name="connsiteX6" fmla="*/ 0 w 1091862"/>
                  <a:gd name="connsiteY6" fmla="*/ 625842 h 814723"/>
                  <a:gd name="connsiteX7" fmla="*/ 0 w 1091862"/>
                  <a:gd name="connsiteY7" fmla="*/ 187833 h 814723"/>
                  <a:gd name="connsiteX8" fmla="*/ 292947 w 1091862"/>
                  <a:gd name="connsiteY8" fmla="*/ 540 h 814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1862" h="814723">
                    <a:moveTo>
                      <a:pt x="303228" y="0"/>
                    </a:moveTo>
                    <a:lnTo>
                      <a:pt x="545931" y="350583"/>
                    </a:lnTo>
                    <a:lnTo>
                      <a:pt x="788635" y="0"/>
                    </a:lnTo>
                    <a:lnTo>
                      <a:pt x="798915" y="540"/>
                    </a:lnTo>
                    <a:cubicBezTo>
                      <a:pt x="966100" y="18367"/>
                      <a:pt x="1091862" y="95447"/>
                      <a:pt x="1091862" y="187833"/>
                    </a:cubicBezTo>
                    <a:lnTo>
                      <a:pt x="1091862" y="625842"/>
                    </a:lnTo>
                    <a:cubicBezTo>
                      <a:pt x="699517" y="897245"/>
                      <a:pt x="256056" y="857334"/>
                      <a:pt x="0" y="625842"/>
                    </a:cubicBezTo>
                    <a:lnTo>
                      <a:pt x="0" y="187833"/>
                    </a:lnTo>
                    <a:cubicBezTo>
                      <a:pt x="0" y="95447"/>
                      <a:pt x="125762" y="18367"/>
                      <a:pt x="292947" y="54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sp>
            <p:nvSpPr>
              <p:cNvPr id="1235" name="Freihandform: Form 1234">
                <a:extLst>
                  <a:ext uri="{FF2B5EF4-FFF2-40B4-BE49-F238E27FC236}">
                    <a16:creationId xmlns:a16="http://schemas.microsoft.com/office/drawing/2014/main" id="{3199B4B5-E1F2-7283-AD4E-4BCDD11DD233}"/>
                  </a:ext>
                </a:extLst>
              </p:cNvPr>
              <p:cNvSpPr/>
              <p:nvPr/>
            </p:nvSpPr>
            <p:spPr>
              <a:xfrm>
                <a:off x="5175082" y="4614668"/>
                <a:ext cx="742337" cy="742337"/>
              </a:xfrm>
              <a:custGeom>
                <a:avLst/>
                <a:gdLst>
                  <a:gd name="connsiteX0" fmla="*/ 371169 w 742337"/>
                  <a:gd name="connsiteY0" fmla="*/ 0 h 742337"/>
                  <a:gd name="connsiteX1" fmla="*/ 742337 w 742337"/>
                  <a:gd name="connsiteY1" fmla="*/ 371169 h 742337"/>
                  <a:gd name="connsiteX2" fmla="*/ 371169 w 742337"/>
                  <a:gd name="connsiteY2" fmla="*/ 742337 h 742337"/>
                  <a:gd name="connsiteX3" fmla="*/ 0 w 742337"/>
                  <a:gd name="connsiteY3" fmla="*/ 371169 h 742337"/>
                  <a:gd name="connsiteX4" fmla="*/ 371169 w 742337"/>
                  <a:gd name="connsiteY4" fmla="*/ 0 h 742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2337" h="742337">
                    <a:moveTo>
                      <a:pt x="371169" y="0"/>
                    </a:moveTo>
                    <a:cubicBezTo>
                      <a:pt x="576160" y="0"/>
                      <a:pt x="742337" y="166178"/>
                      <a:pt x="742337" y="371169"/>
                    </a:cubicBezTo>
                    <a:cubicBezTo>
                      <a:pt x="742337" y="576160"/>
                      <a:pt x="576160" y="742337"/>
                      <a:pt x="371169" y="742337"/>
                    </a:cubicBezTo>
                    <a:cubicBezTo>
                      <a:pt x="166178" y="742337"/>
                      <a:pt x="0" y="576160"/>
                      <a:pt x="0" y="371169"/>
                    </a:cubicBezTo>
                    <a:cubicBezTo>
                      <a:pt x="0" y="166178"/>
                      <a:pt x="166178" y="0"/>
                      <a:pt x="3711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236" name="Gruppieren 1235">
                <a:extLst>
                  <a:ext uri="{FF2B5EF4-FFF2-40B4-BE49-F238E27FC236}">
                    <a16:creationId xmlns:a16="http://schemas.microsoft.com/office/drawing/2014/main" id="{35B98BA2-4315-5D1C-2975-97871FD3F1F6}"/>
                  </a:ext>
                </a:extLst>
              </p:cNvPr>
              <p:cNvGrpSpPr/>
              <p:nvPr/>
            </p:nvGrpSpPr>
            <p:grpSpPr>
              <a:xfrm>
                <a:off x="5020889" y="4436810"/>
                <a:ext cx="1043720" cy="546975"/>
                <a:chOff x="8472264" y="2426134"/>
                <a:chExt cx="1043720" cy="546975"/>
              </a:xfrm>
            </p:grpSpPr>
            <p:sp>
              <p:nvSpPr>
                <p:cNvPr id="1237" name="Freihandform: Form 1236">
                  <a:extLst>
                    <a:ext uri="{FF2B5EF4-FFF2-40B4-BE49-F238E27FC236}">
                      <a16:creationId xmlns:a16="http://schemas.microsoft.com/office/drawing/2014/main" id="{29129C80-C75C-74DA-0937-A35CF0C7EE9D}"/>
                    </a:ext>
                  </a:extLst>
                </p:cNvPr>
                <p:cNvSpPr/>
                <p:nvPr/>
              </p:nvSpPr>
              <p:spPr>
                <a:xfrm>
                  <a:off x="8599858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238" name="Freihandform: Form 1237" descr="Bauarbeiter Silhouette">
                  <a:extLst>
                    <a:ext uri="{FF2B5EF4-FFF2-40B4-BE49-F238E27FC236}">
                      <a16:creationId xmlns:a16="http://schemas.microsoft.com/office/drawing/2014/main" id="{28BDCAAC-1612-D4B2-0ADE-9A274E389EEF}"/>
                    </a:ext>
                  </a:extLst>
                </p:cNvPr>
                <p:cNvSpPr/>
                <p:nvPr/>
              </p:nvSpPr>
              <p:spPr>
                <a:xfrm>
                  <a:off x="8472264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1240" name="Gruppieren 1239">
              <a:extLst>
                <a:ext uri="{FF2B5EF4-FFF2-40B4-BE49-F238E27FC236}">
                  <a16:creationId xmlns:a16="http://schemas.microsoft.com/office/drawing/2014/main" id="{F76D5C2E-0280-2379-8C0B-C7C1004E88B0}"/>
                </a:ext>
              </a:extLst>
            </p:cNvPr>
            <p:cNvGrpSpPr/>
            <p:nvPr/>
          </p:nvGrpSpPr>
          <p:grpSpPr>
            <a:xfrm>
              <a:off x="9369819" y="1666676"/>
              <a:ext cx="375547" cy="614597"/>
              <a:chOff x="9870656" y="4436810"/>
              <a:chExt cx="1113505" cy="1822293"/>
            </a:xfrm>
          </p:grpSpPr>
          <p:sp>
            <p:nvSpPr>
              <p:cNvPr id="1241" name="Freihandform 78">
                <a:extLst>
                  <a:ext uri="{FF2B5EF4-FFF2-40B4-BE49-F238E27FC236}">
                    <a16:creationId xmlns:a16="http://schemas.microsoft.com/office/drawing/2014/main" id="{868FD826-7B61-C4EE-2976-45E8A69A0E83}"/>
                  </a:ext>
                </a:extLst>
              </p:cNvPr>
              <p:cNvSpPr/>
              <p:nvPr/>
            </p:nvSpPr>
            <p:spPr>
              <a:xfrm>
                <a:off x="9870656" y="4614668"/>
                <a:ext cx="1113505" cy="1644435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242" name="Gruppieren 1241">
                <a:extLst>
                  <a:ext uri="{FF2B5EF4-FFF2-40B4-BE49-F238E27FC236}">
                    <a16:creationId xmlns:a16="http://schemas.microsoft.com/office/drawing/2014/main" id="{20FFA694-6E85-A6A1-EA28-6E53E5FD6800}"/>
                  </a:ext>
                </a:extLst>
              </p:cNvPr>
              <p:cNvGrpSpPr/>
              <p:nvPr/>
            </p:nvGrpSpPr>
            <p:grpSpPr>
              <a:xfrm>
                <a:off x="9902047" y="4436810"/>
                <a:ext cx="1043720" cy="546975"/>
                <a:chOff x="8472264" y="2426134"/>
                <a:chExt cx="1043720" cy="546975"/>
              </a:xfrm>
            </p:grpSpPr>
            <p:sp>
              <p:nvSpPr>
                <p:cNvPr id="1243" name="Freihandform: Form 1242">
                  <a:extLst>
                    <a:ext uri="{FF2B5EF4-FFF2-40B4-BE49-F238E27FC236}">
                      <a16:creationId xmlns:a16="http://schemas.microsoft.com/office/drawing/2014/main" id="{166F4259-8B3E-3E08-59ED-412A0DA2F79D}"/>
                    </a:ext>
                  </a:extLst>
                </p:cNvPr>
                <p:cNvSpPr/>
                <p:nvPr/>
              </p:nvSpPr>
              <p:spPr>
                <a:xfrm>
                  <a:off x="8599858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244" name="Freihandform: Form 1243" descr="Bauarbeiter Silhouette">
                  <a:extLst>
                    <a:ext uri="{FF2B5EF4-FFF2-40B4-BE49-F238E27FC236}">
                      <a16:creationId xmlns:a16="http://schemas.microsoft.com/office/drawing/2014/main" id="{47938CDB-FA9C-5992-DC53-915C6F33D569}"/>
                    </a:ext>
                  </a:extLst>
                </p:cNvPr>
                <p:cNvSpPr/>
                <p:nvPr/>
              </p:nvSpPr>
              <p:spPr>
                <a:xfrm>
                  <a:off x="8472264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1056" name="Gruppieren 1055">
              <a:extLst>
                <a:ext uri="{FF2B5EF4-FFF2-40B4-BE49-F238E27FC236}">
                  <a16:creationId xmlns:a16="http://schemas.microsoft.com/office/drawing/2014/main" id="{7E1E13CA-C039-A77F-7F66-BD3905D55BF5}"/>
                </a:ext>
              </a:extLst>
            </p:cNvPr>
            <p:cNvGrpSpPr/>
            <p:nvPr/>
          </p:nvGrpSpPr>
          <p:grpSpPr>
            <a:xfrm>
              <a:off x="9830328" y="1755051"/>
              <a:ext cx="310082" cy="525562"/>
              <a:chOff x="11067982" y="4739041"/>
              <a:chExt cx="783930" cy="1328694"/>
            </a:xfrm>
          </p:grpSpPr>
          <p:sp>
            <p:nvSpPr>
              <p:cNvPr id="1057" name="Freihandform 76">
                <a:extLst>
                  <a:ext uri="{FF2B5EF4-FFF2-40B4-BE49-F238E27FC236}">
                    <a16:creationId xmlns:a16="http://schemas.microsoft.com/office/drawing/2014/main" id="{6B47E04A-9EB9-0438-E42A-23223212E79F}"/>
                  </a:ext>
                </a:extLst>
              </p:cNvPr>
              <p:cNvSpPr/>
              <p:nvPr/>
            </p:nvSpPr>
            <p:spPr>
              <a:xfrm>
                <a:off x="11067982" y="4910022"/>
                <a:ext cx="783930" cy="1157713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058" name="Gruppieren 1057">
                <a:extLst>
                  <a:ext uri="{FF2B5EF4-FFF2-40B4-BE49-F238E27FC236}">
                    <a16:creationId xmlns:a16="http://schemas.microsoft.com/office/drawing/2014/main" id="{4E06775E-4866-F7A8-27C1-5AA66ED50BBB}"/>
                  </a:ext>
                </a:extLst>
              </p:cNvPr>
              <p:cNvGrpSpPr/>
              <p:nvPr/>
            </p:nvGrpSpPr>
            <p:grpSpPr>
              <a:xfrm>
                <a:off x="11078280" y="4739041"/>
                <a:ext cx="768383" cy="402681"/>
                <a:chOff x="9650969" y="2426134"/>
                <a:chExt cx="1043720" cy="546975"/>
              </a:xfrm>
            </p:grpSpPr>
            <p:sp>
              <p:nvSpPr>
                <p:cNvPr id="1059" name="Freihandform: Form 1058">
                  <a:extLst>
                    <a:ext uri="{FF2B5EF4-FFF2-40B4-BE49-F238E27FC236}">
                      <a16:creationId xmlns:a16="http://schemas.microsoft.com/office/drawing/2014/main" id="{E940DEEF-DC53-1632-792F-A0DAF208FDC5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60" name="Freihandform: Form 1059" descr="Bauarbeiter Silhouette">
                  <a:extLst>
                    <a:ext uri="{FF2B5EF4-FFF2-40B4-BE49-F238E27FC236}">
                      <a16:creationId xmlns:a16="http://schemas.microsoft.com/office/drawing/2014/main" id="{F8709818-D64C-EE79-FBB7-5AAA97D230E6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1061" name="Gruppieren 1060">
              <a:extLst>
                <a:ext uri="{FF2B5EF4-FFF2-40B4-BE49-F238E27FC236}">
                  <a16:creationId xmlns:a16="http://schemas.microsoft.com/office/drawing/2014/main" id="{59BFB1C7-9F22-442E-8AA5-C1C6F6814B0B}"/>
                </a:ext>
              </a:extLst>
            </p:cNvPr>
            <p:cNvGrpSpPr/>
            <p:nvPr/>
          </p:nvGrpSpPr>
          <p:grpSpPr>
            <a:xfrm>
              <a:off x="10200356" y="1755051"/>
              <a:ext cx="310082" cy="525562"/>
              <a:chOff x="11067982" y="4739041"/>
              <a:chExt cx="783930" cy="1328694"/>
            </a:xfrm>
          </p:grpSpPr>
          <p:sp>
            <p:nvSpPr>
              <p:cNvPr id="1062" name="Freihandform 76">
                <a:extLst>
                  <a:ext uri="{FF2B5EF4-FFF2-40B4-BE49-F238E27FC236}">
                    <a16:creationId xmlns:a16="http://schemas.microsoft.com/office/drawing/2014/main" id="{7B9C85DD-614D-B2E0-D367-AD0B282EC763}"/>
                  </a:ext>
                </a:extLst>
              </p:cNvPr>
              <p:cNvSpPr/>
              <p:nvPr/>
            </p:nvSpPr>
            <p:spPr>
              <a:xfrm>
                <a:off x="11067982" y="4910022"/>
                <a:ext cx="783930" cy="1157713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063" name="Gruppieren 1062">
                <a:extLst>
                  <a:ext uri="{FF2B5EF4-FFF2-40B4-BE49-F238E27FC236}">
                    <a16:creationId xmlns:a16="http://schemas.microsoft.com/office/drawing/2014/main" id="{CA8BE02A-EF89-CBEE-2028-30FC90EE1301}"/>
                  </a:ext>
                </a:extLst>
              </p:cNvPr>
              <p:cNvGrpSpPr/>
              <p:nvPr/>
            </p:nvGrpSpPr>
            <p:grpSpPr>
              <a:xfrm>
                <a:off x="11078280" y="4739041"/>
                <a:ext cx="768383" cy="402681"/>
                <a:chOff x="9650969" y="2426134"/>
                <a:chExt cx="1043720" cy="546975"/>
              </a:xfrm>
            </p:grpSpPr>
            <p:sp>
              <p:nvSpPr>
                <p:cNvPr id="1064" name="Freihandform: Form 1063">
                  <a:extLst>
                    <a:ext uri="{FF2B5EF4-FFF2-40B4-BE49-F238E27FC236}">
                      <a16:creationId xmlns:a16="http://schemas.microsoft.com/office/drawing/2014/main" id="{9701005C-D95A-1CCB-33EF-B1E31F4B4331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65" name="Freihandform: Form 1064" descr="Bauarbeiter Silhouette">
                  <a:extLst>
                    <a:ext uri="{FF2B5EF4-FFF2-40B4-BE49-F238E27FC236}">
                      <a16:creationId xmlns:a16="http://schemas.microsoft.com/office/drawing/2014/main" id="{2DA9E499-C7F4-60A8-FAFE-2429A96429D7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1066" name="Gruppieren 1065">
              <a:extLst>
                <a:ext uri="{FF2B5EF4-FFF2-40B4-BE49-F238E27FC236}">
                  <a16:creationId xmlns:a16="http://schemas.microsoft.com/office/drawing/2014/main" id="{744DB105-1997-F9BD-C192-C4488763A22E}"/>
                </a:ext>
              </a:extLst>
            </p:cNvPr>
            <p:cNvGrpSpPr/>
            <p:nvPr/>
          </p:nvGrpSpPr>
          <p:grpSpPr>
            <a:xfrm>
              <a:off x="9698885" y="1181592"/>
              <a:ext cx="310082" cy="525562"/>
              <a:chOff x="11067982" y="4739041"/>
              <a:chExt cx="783930" cy="1328694"/>
            </a:xfrm>
          </p:grpSpPr>
          <p:sp>
            <p:nvSpPr>
              <p:cNvPr id="1068" name="Freihandform 76">
                <a:extLst>
                  <a:ext uri="{FF2B5EF4-FFF2-40B4-BE49-F238E27FC236}">
                    <a16:creationId xmlns:a16="http://schemas.microsoft.com/office/drawing/2014/main" id="{F427646E-30CE-6A0E-73BE-4743AAD94F9D}"/>
                  </a:ext>
                </a:extLst>
              </p:cNvPr>
              <p:cNvSpPr/>
              <p:nvPr/>
            </p:nvSpPr>
            <p:spPr>
              <a:xfrm>
                <a:off x="11067982" y="4910022"/>
                <a:ext cx="783930" cy="1157713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070" name="Gruppieren 1069">
                <a:extLst>
                  <a:ext uri="{FF2B5EF4-FFF2-40B4-BE49-F238E27FC236}">
                    <a16:creationId xmlns:a16="http://schemas.microsoft.com/office/drawing/2014/main" id="{137597EE-BF37-F349-1423-3FCCEFB15A6A}"/>
                  </a:ext>
                </a:extLst>
              </p:cNvPr>
              <p:cNvGrpSpPr/>
              <p:nvPr/>
            </p:nvGrpSpPr>
            <p:grpSpPr>
              <a:xfrm>
                <a:off x="11078280" y="4739041"/>
                <a:ext cx="768383" cy="402681"/>
                <a:chOff x="9650969" y="2426134"/>
                <a:chExt cx="1043720" cy="546975"/>
              </a:xfrm>
            </p:grpSpPr>
            <p:sp>
              <p:nvSpPr>
                <p:cNvPr id="1071" name="Freihandform: Form 1070">
                  <a:extLst>
                    <a:ext uri="{FF2B5EF4-FFF2-40B4-BE49-F238E27FC236}">
                      <a16:creationId xmlns:a16="http://schemas.microsoft.com/office/drawing/2014/main" id="{2FE44B47-FB4E-2111-6090-DCB35DB497AB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72" name="Freihandform: Form 1071" descr="Bauarbeiter Silhouette">
                  <a:extLst>
                    <a:ext uri="{FF2B5EF4-FFF2-40B4-BE49-F238E27FC236}">
                      <a16:creationId xmlns:a16="http://schemas.microsoft.com/office/drawing/2014/main" id="{E546557B-9A9D-D20C-AA21-C025B6C575E1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1074" name="Gruppieren 1073">
              <a:extLst>
                <a:ext uri="{FF2B5EF4-FFF2-40B4-BE49-F238E27FC236}">
                  <a16:creationId xmlns:a16="http://schemas.microsoft.com/office/drawing/2014/main" id="{2EC6A883-0353-3978-81C6-522535A1D0AA}"/>
                </a:ext>
              </a:extLst>
            </p:cNvPr>
            <p:cNvGrpSpPr/>
            <p:nvPr/>
          </p:nvGrpSpPr>
          <p:grpSpPr>
            <a:xfrm>
              <a:off x="10068913" y="1181592"/>
              <a:ext cx="310082" cy="525562"/>
              <a:chOff x="11067982" y="4739041"/>
              <a:chExt cx="783930" cy="1328694"/>
            </a:xfrm>
          </p:grpSpPr>
          <p:sp>
            <p:nvSpPr>
              <p:cNvPr id="1076" name="Freihandform 76">
                <a:extLst>
                  <a:ext uri="{FF2B5EF4-FFF2-40B4-BE49-F238E27FC236}">
                    <a16:creationId xmlns:a16="http://schemas.microsoft.com/office/drawing/2014/main" id="{53315178-F4CB-FBAE-D963-EA08DE6012D0}"/>
                  </a:ext>
                </a:extLst>
              </p:cNvPr>
              <p:cNvSpPr/>
              <p:nvPr/>
            </p:nvSpPr>
            <p:spPr>
              <a:xfrm>
                <a:off x="11067982" y="4910022"/>
                <a:ext cx="783930" cy="1157713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077" name="Gruppieren 1076">
                <a:extLst>
                  <a:ext uri="{FF2B5EF4-FFF2-40B4-BE49-F238E27FC236}">
                    <a16:creationId xmlns:a16="http://schemas.microsoft.com/office/drawing/2014/main" id="{D1509959-5306-EC6F-4C16-E43F011FC1B9}"/>
                  </a:ext>
                </a:extLst>
              </p:cNvPr>
              <p:cNvGrpSpPr/>
              <p:nvPr/>
            </p:nvGrpSpPr>
            <p:grpSpPr>
              <a:xfrm>
                <a:off x="11078280" y="4739041"/>
                <a:ext cx="768383" cy="402681"/>
                <a:chOff x="9650969" y="2426134"/>
                <a:chExt cx="1043720" cy="546975"/>
              </a:xfrm>
            </p:grpSpPr>
            <p:sp>
              <p:nvSpPr>
                <p:cNvPr id="1078" name="Freihandform: Form 1077">
                  <a:extLst>
                    <a:ext uri="{FF2B5EF4-FFF2-40B4-BE49-F238E27FC236}">
                      <a16:creationId xmlns:a16="http://schemas.microsoft.com/office/drawing/2014/main" id="{DAE469B7-D611-C63D-8547-F1043C1851A9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79" name="Freihandform: Form 1078" descr="Bauarbeiter Silhouette">
                  <a:extLst>
                    <a:ext uri="{FF2B5EF4-FFF2-40B4-BE49-F238E27FC236}">
                      <a16:creationId xmlns:a16="http://schemas.microsoft.com/office/drawing/2014/main" id="{A0EB761C-B37F-E090-DFD1-170DA1879A24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grpSp>
        <p:nvGrpSpPr>
          <p:cNvPr id="1096" name="Gruppieren 1095">
            <a:extLst>
              <a:ext uri="{FF2B5EF4-FFF2-40B4-BE49-F238E27FC236}">
                <a16:creationId xmlns:a16="http://schemas.microsoft.com/office/drawing/2014/main" id="{C1096B9B-ACEE-EBBD-6225-EF3518432C1A}"/>
              </a:ext>
            </a:extLst>
          </p:cNvPr>
          <p:cNvGrpSpPr/>
          <p:nvPr/>
        </p:nvGrpSpPr>
        <p:grpSpPr>
          <a:xfrm>
            <a:off x="9516751" y="5007727"/>
            <a:ext cx="1894725" cy="1310717"/>
            <a:chOff x="10138333" y="5042945"/>
            <a:chExt cx="1894725" cy="1310717"/>
          </a:xfrm>
        </p:grpSpPr>
        <p:grpSp>
          <p:nvGrpSpPr>
            <p:cNvPr id="1170" name="Gruppieren 1169">
              <a:extLst>
                <a:ext uri="{FF2B5EF4-FFF2-40B4-BE49-F238E27FC236}">
                  <a16:creationId xmlns:a16="http://schemas.microsoft.com/office/drawing/2014/main" id="{A459701B-4C99-5510-5FE2-CFA6105836BC}"/>
                </a:ext>
              </a:extLst>
            </p:cNvPr>
            <p:cNvGrpSpPr/>
            <p:nvPr/>
          </p:nvGrpSpPr>
          <p:grpSpPr>
            <a:xfrm>
              <a:off x="10653447" y="5647362"/>
              <a:ext cx="866210" cy="552690"/>
              <a:chOff x="4667995" y="4402667"/>
              <a:chExt cx="2856010" cy="1822293"/>
            </a:xfrm>
          </p:grpSpPr>
          <p:sp>
            <p:nvSpPr>
              <p:cNvPr id="1171" name="Freihandform 76">
                <a:extLst>
                  <a:ext uri="{FF2B5EF4-FFF2-40B4-BE49-F238E27FC236}">
                    <a16:creationId xmlns:a16="http://schemas.microsoft.com/office/drawing/2014/main" id="{612BC0C3-EB31-ED50-EB7F-DADC27CC8FF2}"/>
                  </a:ext>
                </a:extLst>
              </p:cNvPr>
              <p:cNvSpPr/>
              <p:nvPr/>
            </p:nvSpPr>
            <p:spPr>
              <a:xfrm>
                <a:off x="6740075" y="4875879"/>
                <a:ext cx="783930" cy="1157713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sp>
            <p:nvSpPr>
              <p:cNvPr id="1172" name="Freihandform 77">
                <a:extLst>
                  <a:ext uri="{FF2B5EF4-FFF2-40B4-BE49-F238E27FC236}">
                    <a16:creationId xmlns:a16="http://schemas.microsoft.com/office/drawing/2014/main" id="{2BEC6073-1D94-CC71-3E1C-96D0454F2690}"/>
                  </a:ext>
                </a:extLst>
              </p:cNvPr>
              <p:cNvSpPr/>
              <p:nvPr/>
            </p:nvSpPr>
            <p:spPr>
              <a:xfrm>
                <a:off x="4667995" y="4879549"/>
                <a:ext cx="781444" cy="1154044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sp>
            <p:nvSpPr>
              <p:cNvPr id="1173" name="Freihandform 78">
                <a:extLst>
                  <a:ext uri="{FF2B5EF4-FFF2-40B4-BE49-F238E27FC236}">
                    <a16:creationId xmlns:a16="http://schemas.microsoft.com/office/drawing/2014/main" id="{AB533A9D-C81B-A508-B978-082FDC94A56B}"/>
                  </a:ext>
                </a:extLst>
              </p:cNvPr>
              <p:cNvSpPr/>
              <p:nvPr/>
            </p:nvSpPr>
            <p:spPr>
              <a:xfrm>
                <a:off x="5542749" y="4580525"/>
                <a:ext cx="1113505" cy="1644435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174" name="Gruppieren 1173">
                <a:extLst>
                  <a:ext uri="{FF2B5EF4-FFF2-40B4-BE49-F238E27FC236}">
                    <a16:creationId xmlns:a16="http://schemas.microsoft.com/office/drawing/2014/main" id="{867C012B-59F2-B883-BF6E-A5C9E4EC7847}"/>
                  </a:ext>
                </a:extLst>
              </p:cNvPr>
              <p:cNvGrpSpPr/>
              <p:nvPr/>
            </p:nvGrpSpPr>
            <p:grpSpPr>
              <a:xfrm>
                <a:off x="5574140" y="4402667"/>
                <a:ext cx="1043720" cy="546975"/>
                <a:chOff x="8472264" y="2426134"/>
                <a:chExt cx="1043720" cy="546975"/>
              </a:xfrm>
            </p:grpSpPr>
            <p:sp>
              <p:nvSpPr>
                <p:cNvPr id="1181" name="Freihandform: Form 1180">
                  <a:extLst>
                    <a:ext uri="{FF2B5EF4-FFF2-40B4-BE49-F238E27FC236}">
                      <a16:creationId xmlns:a16="http://schemas.microsoft.com/office/drawing/2014/main" id="{7EDB2F9A-4B61-933D-EAFE-210AAFB85D5B}"/>
                    </a:ext>
                  </a:extLst>
                </p:cNvPr>
                <p:cNvSpPr/>
                <p:nvPr/>
              </p:nvSpPr>
              <p:spPr>
                <a:xfrm>
                  <a:off x="8599858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solidFill>
                    <a:srgbClr val="FFFF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182" name="Freihandform: Form 1181" descr="Bauarbeiter Silhouette">
                  <a:extLst>
                    <a:ext uri="{FF2B5EF4-FFF2-40B4-BE49-F238E27FC236}">
                      <a16:creationId xmlns:a16="http://schemas.microsoft.com/office/drawing/2014/main" id="{55C980C4-93E9-93F1-D929-010872C45E3F}"/>
                    </a:ext>
                  </a:extLst>
                </p:cNvPr>
                <p:cNvSpPr/>
                <p:nvPr/>
              </p:nvSpPr>
              <p:spPr>
                <a:xfrm>
                  <a:off x="8472264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75" name="Gruppieren 1174">
                <a:extLst>
                  <a:ext uri="{FF2B5EF4-FFF2-40B4-BE49-F238E27FC236}">
                    <a16:creationId xmlns:a16="http://schemas.microsoft.com/office/drawing/2014/main" id="{58E25E23-1F88-F5B0-E0FC-3B7BD3E569B5}"/>
                  </a:ext>
                </a:extLst>
              </p:cNvPr>
              <p:cNvGrpSpPr/>
              <p:nvPr/>
            </p:nvGrpSpPr>
            <p:grpSpPr>
              <a:xfrm>
                <a:off x="6750373" y="4704898"/>
                <a:ext cx="768383" cy="402681"/>
                <a:chOff x="9650969" y="2426134"/>
                <a:chExt cx="1043720" cy="546975"/>
              </a:xfrm>
            </p:grpSpPr>
            <p:sp>
              <p:nvSpPr>
                <p:cNvPr id="1179" name="Freihandform: Form 1178">
                  <a:extLst>
                    <a:ext uri="{FF2B5EF4-FFF2-40B4-BE49-F238E27FC236}">
                      <a16:creationId xmlns:a16="http://schemas.microsoft.com/office/drawing/2014/main" id="{533F8D6D-F3EB-D980-D4B3-EF79E41A8125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180" name="Freihandform: Form 1179" descr="Bauarbeiter Silhouette">
                  <a:extLst>
                    <a:ext uri="{FF2B5EF4-FFF2-40B4-BE49-F238E27FC236}">
                      <a16:creationId xmlns:a16="http://schemas.microsoft.com/office/drawing/2014/main" id="{93EC4FB0-5A4C-1FE9-489C-B3F20062E404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176" name="Gruppieren 1175">
                <a:extLst>
                  <a:ext uri="{FF2B5EF4-FFF2-40B4-BE49-F238E27FC236}">
                    <a16:creationId xmlns:a16="http://schemas.microsoft.com/office/drawing/2014/main" id="{7146ACDD-A578-61AF-0E3C-2460EB71BC86}"/>
                  </a:ext>
                </a:extLst>
              </p:cNvPr>
              <p:cNvGrpSpPr/>
              <p:nvPr/>
            </p:nvGrpSpPr>
            <p:grpSpPr>
              <a:xfrm>
                <a:off x="4679545" y="4704898"/>
                <a:ext cx="768383" cy="402681"/>
                <a:chOff x="9650969" y="2426134"/>
                <a:chExt cx="1043720" cy="546975"/>
              </a:xfrm>
            </p:grpSpPr>
            <p:sp>
              <p:nvSpPr>
                <p:cNvPr id="1177" name="Freihandform: Form 1176">
                  <a:extLst>
                    <a:ext uri="{FF2B5EF4-FFF2-40B4-BE49-F238E27FC236}">
                      <a16:creationId xmlns:a16="http://schemas.microsoft.com/office/drawing/2014/main" id="{BC254684-5AD1-43FF-8B37-2C38795296A4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178" name="Freihandform: Form 1177" descr="Bauarbeiter Silhouette">
                  <a:extLst>
                    <a:ext uri="{FF2B5EF4-FFF2-40B4-BE49-F238E27FC236}">
                      <a16:creationId xmlns:a16="http://schemas.microsoft.com/office/drawing/2014/main" id="{DFDB2C10-7610-6A94-516C-544E9CA4133E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1185" name="Freihandform 77">
              <a:extLst>
                <a:ext uri="{FF2B5EF4-FFF2-40B4-BE49-F238E27FC236}">
                  <a16:creationId xmlns:a16="http://schemas.microsoft.com/office/drawing/2014/main" id="{73B7DC24-6779-E893-6242-DB59ACFF5E68}"/>
                </a:ext>
              </a:extLst>
            </p:cNvPr>
            <p:cNvSpPr/>
            <p:nvPr/>
          </p:nvSpPr>
          <p:spPr>
            <a:xfrm>
              <a:off x="11238785" y="5368178"/>
              <a:ext cx="237007" cy="350014"/>
            </a:xfrm>
            <a:custGeom>
              <a:avLst/>
              <a:gdLst>
                <a:gd name="connsiteX0" fmla="*/ 362901 w 1080000"/>
                <a:gd name="connsiteY0" fmla="*/ 735472 h 1594954"/>
                <a:gd name="connsiteX1" fmla="*/ 363219 w 1080000"/>
                <a:gd name="connsiteY1" fmla="*/ 735472 h 1594954"/>
                <a:gd name="connsiteX2" fmla="*/ 399872 w 1080000"/>
                <a:gd name="connsiteY2" fmla="*/ 755367 h 1594954"/>
                <a:gd name="connsiteX3" fmla="*/ 540000 w 1080000"/>
                <a:gd name="connsiteY3" fmla="*/ 783657 h 1594954"/>
                <a:gd name="connsiteX4" fmla="*/ 680129 w 1080000"/>
                <a:gd name="connsiteY4" fmla="*/ 755367 h 1594954"/>
                <a:gd name="connsiteX5" fmla="*/ 716782 w 1080000"/>
                <a:gd name="connsiteY5" fmla="*/ 735472 h 1594954"/>
                <a:gd name="connsiteX6" fmla="*/ 717099 w 1080000"/>
                <a:gd name="connsiteY6" fmla="*/ 735472 h 1594954"/>
                <a:gd name="connsiteX7" fmla="*/ 1080000 w 1080000"/>
                <a:gd name="connsiteY7" fmla="*/ 936327 h 1594954"/>
                <a:gd name="connsiteX8" fmla="*/ 1080000 w 1080000"/>
                <a:gd name="connsiteY8" fmla="*/ 1396511 h 1594954"/>
                <a:gd name="connsiteX9" fmla="*/ 0 w 1080000"/>
                <a:gd name="connsiteY9" fmla="*/ 1396511 h 1594954"/>
                <a:gd name="connsiteX10" fmla="*/ 0 w 1080000"/>
                <a:gd name="connsiteY10" fmla="*/ 936327 h 1594954"/>
                <a:gd name="connsiteX11" fmla="*/ 362901 w 1080000"/>
                <a:gd name="connsiteY11" fmla="*/ 735472 h 1594954"/>
                <a:gd name="connsiteX12" fmla="*/ 540000 w 1080000"/>
                <a:gd name="connsiteY12" fmla="*/ 0 h 1594954"/>
                <a:gd name="connsiteX13" fmla="*/ 900000 w 1080000"/>
                <a:gd name="connsiteY13" fmla="*/ 360000 h 1594954"/>
                <a:gd name="connsiteX14" fmla="*/ 540000 w 1080000"/>
                <a:gd name="connsiteY14" fmla="*/ 720000 h 1594954"/>
                <a:gd name="connsiteX15" fmla="*/ 180000 w 1080000"/>
                <a:gd name="connsiteY15" fmla="*/ 360000 h 1594954"/>
                <a:gd name="connsiteX16" fmla="*/ 540000 w 1080000"/>
                <a:gd name="connsiteY16" fmla="*/ 0 h 159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80000" h="1594954">
                  <a:moveTo>
                    <a:pt x="362901" y="735472"/>
                  </a:moveTo>
                  <a:lnTo>
                    <a:pt x="363219" y="735472"/>
                  </a:lnTo>
                  <a:lnTo>
                    <a:pt x="399872" y="755367"/>
                  </a:lnTo>
                  <a:cubicBezTo>
                    <a:pt x="442942" y="773584"/>
                    <a:pt x="490295" y="783657"/>
                    <a:pt x="540000" y="783657"/>
                  </a:cubicBezTo>
                  <a:cubicBezTo>
                    <a:pt x="589706" y="783657"/>
                    <a:pt x="637059" y="773584"/>
                    <a:pt x="680129" y="755367"/>
                  </a:cubicBezTo>
                  <a:lnTo>
                    <a:pt x="716782" y="735472"/>
                  </a:lnTo>
                  <a:lnTo>
                    <a:pt x="717099" y="735472"/>
                  </a:lnTo>
                  <a:cubicBezTo>
                    <a:pt x="917524" y="735472"/>
                    <a:pt x="1080000" y="825398"/>
                    <a:pt x="1080000" y="936327"/>
                  </a:cubicBezTo>
                  <a:lnTo>
                    <a:pt x="1080000" y="1396511"/>
                  </a:lnTo>
                  <a:cubicBezTo>
                    <a:pt x="691917" y="1681653"/>
                    <a:pt x="253274" y="1639722"/>
                    <a:pt x="0" y="1396511"/>
                  </a:cubicBezTo>
                  <a:lnTo>
                    <a:pt x="0" y="936327"/>
                  </a:lnTo>
                  <a:cubicBezTo>
                    <a:pt x="0" y="825398"/>
                    <a:pt x="162477" y="735472"/>
                    <a:pt x="362901" y="735472"/>
                  </a:cubicBezTo>
                  <a:close/>
                  <a:moveTo>
                    <a:pt x="540000" y="0"/>
                  </a:moveTo>
                  <a:cubicBezTo>
                    <a:pt x="738823" y="0"/>
                    <a:pt x="900000" y="161177"/>
                    <a:pt x="900000" y="360000"/>
                  </a:cubicBezTo>
                  <a:cubicBezTo>
                    <a:pt x="900000" y="558823"/>
                    <a:pt x="738823" y="720000"/>
                    <a:pt x="540000" y="720000"/>
                  </a:cubicBezTo>
                  <a:cubicBezTo>
                    <a:pt x="341177" y="720000"/>
                    <a:pt x="180000" y="558823"/>
                    <a:pt x="180000" y="360000"/>
                  </a:cubicBezTo>
                  <a:cubicBezTo>
                    <a:pt x="180000" y="161177"/>
                    <a:pt x="341177" y="0"/>
                    <a:pt x="540000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rIns="144000" rtlCol="0" anchor="ctr">
              <a:noAutofit/>
            </a:bodyPr>
            <a:lstStyle/>
            <a:p>
              <a:pPr algn="ctr"/>
              <a:endParaRPr lang="de-DE" err="1">
                <a:solidFill>
                  <a:prstClr val="white"/>
                </a:solidFill>
              </a:endParaRPr>
            </a:p>
          </p:txBody>
        </p:sp>
        <p:sp>
          <p:nvSpPr>
            <p:cNvPr id="1186" name="Freihandform 78">
              <a:extLst>
                <a:ext uri="{FF2B5EF4-FFF2-40B4-BE49-F238E27FC236}">
                  <a16:creationId xmlns:a16="http://schemas.microsoft.com/office/drawing/2014/main" id="{9DB770DA-FF0A-C208-DD4A-F54CDE12EB99}"/>
                </a:ext>
              </a:extLst>
            </p:cNvPr>
            <p:cNvSpPr/>
            <p:nvPr/>
          </p:nvSpPr>
          <p:spPr>
            <a:xfrm>
              <a:off x="11504092" y="5277486"/>
              <a:ext cx="337719" cy="498747"/>
            </a:xfrm>
            <a:custGeom>
              <a:avLst/>
              <a:gdLst>
                <a:gd name="connsiteX0" fmla="*/ 362901 w 1080000"/>
                <a:gd name="connsiteY0" fmla="*/ 735472 h 1594954"/>
                <a:gd name="connsiteX1" fmla="*/ 363219 w 1080000"/>
                <a:gd name="connsiteY1" fmla="*/ 735472 h 1594954"/>
                <a:gd name="connsiteX2" fmla="*/ 399872 w 1080000"/>
                <a:gd name="connsiteY2" fmla="*/ 755367 h 1594954"/>
                <a:gd name="connsiteX3" fmla="*/ 540000 w 1080000"/>
                <a:gd name="connsiteY3" fmla="*/ 783657 h 1594954"/>
                <a:gd name="connsiteX4" fmla="*/ 680129 w 1080000"/>
                <a:gd name="connsiteY4" fmla="*/ 755367 h 1594954"/>
                <a:gd name="connsiteX5" fmla="*/ 716782 w 1080000"/>
                <a:gd name="connsiteY5" fmla="*/ 735472 h 1594954"/>
                <a:gd name="connsiteX6" fmla="*/ 717099 w 1080000"/>
                <a:gd name="connsiteY6" fmla="*/ 735472 h 1594954"/>
                <a:gd name="connsiteX7" fmla="*/ 1080000 w 1080000"/>
                <a:gd name="connsiteY7" fmla="*/ 936327 h 1594954"/>
                <a:gd name="connsiteX8" fmla="*/ 1080000 w 1080000"/>
                <a:gd name="connsiteY8" fmla="*/ 1396511 h 1594954"/>
                <a:gd name="connsiteX9" fmla="*/ 0 w 1080000"/>
                <a:gd name="connsiteY9" fmla="*/ 1396511 h 1594954"/>
                <a:gd name="connsiteX10" fmla="*/ 0 w 1080000"/>
                <a:gd name="connsiteY10" fmla="*/ 936327 h 1594954"/>
                <a:gd name="connsiteX11" fmla="*/ 362901 w 1080000"/>
                <a:gd name="connsiteY11" fmla="*/ 735472 h 1594954"/>
                <a:gd name="connsiteX12" fmla="*/ 540000 w 1080000"/>
                <a:gd name="connsiteY12" fmla="*/ 0 h 1594954"/>
                <a:gd name="connsiteX13" fmla="*/ 900000 w 1080000"/>
                <a:gd name="connsiteY13" fmla="*/ 360000 h 1594954"/>
                <a:gd name="connsiteX14" fmla="*/ 540000 w 1080000"/>
                <a:gd name="connsiteY14" fmla="*/ 720000 h 1594954"/>
                <a:gd name="connsiteX15" fmla="*/ 180000 w 1080000"/>
                <a:gd name="connsiteY15" fmla="*/ 360000 h 1594954"/>
                <a:gd name="connsiteX16" fmla="*/ 540000 w 1080000"/>
                <a:gd name="connsiteY16" fmla="*/ 0 h 159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80000" h="1594954">
                  <a:moveTo>
                    <a:pt x="362901" y="735472"/>
                  </a:moveTo>
                  <a:lnTo>
                    <a:pt x="363219" y="735472"/>
                  </a:lnTo>
                  <a:lnTo>
                    <a:pt x="399872" y="755367"/>
                  </a:lnTo>
                  <a:cubicBezTo>
                    <a:pt x="442942" y="773584"/>
                    <a:pt x="490295" y="783657"/>
                    <a:pt x="540000" y="783657"/>
                  </a:cubicBezTo>
                  <a:cubicBezTo>
                    <a:pt x="589706" y="783657"/>
                    <a:pt x="637059" y="773584"/>
                    <a:pt x="680129" y="755367"/>
                  </a:cubicBezTo>
                  <a:lnTo>
                    <a:pt x="716782" y="735472"/>
                  </a:lnTo>
                  <a:lnTo>
                    <a:pt x="717099" y="735472"/>
                  </a:lnTo>
                  <a:cubicBezTo>
                    <a:pt x="917524" y="735472"/>
                    <a:pt x="1080000" y="825398"/>
                    <a:pt x="1080000" y="936327"/>
                  </a:cubicBezTo>
                  <a:lnTo>
                    <a:pt x="1080000" y="1396511"/>
                  </a:lnTo>
                  <a:cubicBezTo>
                    <a:pt x="691917" y="1681653"/>
                    <a:pt x="253274" y="1639722"/>
                    <a:pt x="0" y="1396511"/>
                  </a:cubicBezTo>
                  <a:lnTo>
                    <a:pt x="0" y="936327"/>
                  </a:lnTo>
                  <a:cubicBezTo>
                    <a:pt x="0" y="825398"/>
                    <a:pt x="162477" y="735472"/>
                    <a:pt x="362901" y="735472"/>
                  </a:cubicBezTo>
                  <a:close/>
                  <a:moveTo>
                    <a:pt x="540000" y="0"/>
                  </a:moveTo>
                  <a:cubicBezTo>
                    <a:pt x="738823" y="0"/>
                    <a:pt x="900000" y="161177"/>
                    <a:pt x="900000" y="360000"/>
                  </a:cubicBezTo>
                  <a:cubicBezTo>
                    <a:pt x="900000" y="558823"/>
                    <a:pt x="738823" y="720000"/>
                    <a:pt x="540000" y="720000"/>
                  </a:cubicBezTo>
                  <a:cubicBezTo>
                    <a:pt x="341177" y="720000"/>
                    <a:pt x="180000" y="558823"/>
                    <a:pt x="180000" y="360000"/>
                  </a:cubicBezTo>
                  <a:cubicBezTo>
                    <a:pt x="180000" y="161177"/>
                    <a:pt x="341177" y="0"/>
                    <a:pt x="540000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rIns="144000" rtlCol="0" anchor="ctr">
              <a:noAutofit/>
            </a:bodyPr>
            <a:lstStyle/>
            <a:p>
              <a:pPr algn="ctr"/>
              <a:endParaRPr lang="de-DE" err="1">
                <a:solidFill>
                  <a:prstClr val="white"/>
                </a:solidFill>
              </a:endParaRPr>
            </a:p>
          </p:txBody>
        </p:sp>
        <p:grpSp>
          <p:nvGrpSpPr>
            <p:cNvPr id="1187" name="Gruppieren 1186">
              <a:extLst>
                <a:ext uri="{FF2B5EF4-FFF2-40B4-BE49-F238E27FC236}">
                  <a16:creationId xmlns:a16="http://schemas.microsoft.com/office/drawing/2014/main" id="{18900561-5432-48FC-DB76-EF2EBD2A2577}"/>
                </a:ext>
              </a:extLst>
            </p:cNvPr>
            <p:cNvGrpSpPr/>
            <p:nvPr/>
          </p:nvGrpSpPr>
          <p:grpSpPr>
            <a:xfrm>
              <a:off x="11513613" y="5223543"/>
              <a:ext cx="316554" cy="165894"/>
              <a:chOff x="8472264" y="2426134"/>
              <a:chExt cx="1043720" cy="546975"/>
            </a:xfrm>
          </p:grpSpPr>
          <p:sp>
            <p:nvSpPr>
              <p:cNvPr id="1194" name="Freihandform: Form 1193">
                <a:extLst>
                  <a:ext uri="{FF2B5EF4-FFF2-40B4-BE49-F238E27FC236}">
                    <a16:creationId xmlns:a16="http://schemas.microsoft.com/office/drawing/2014/main" id="{18D9B799-2CB3-B12B-6F9A-8E5CE09014D1}"/>
                  </a:ext>
                </a:extLst>
              </p:cNvPr>
              <p:cNvSpPr/>
              <p:nvPr/>
            </p:nvSpPr>
            <p:spPr>
              <a:xfrm>
                <a:off x="8599858" y="2459698"/>
                <a:ext cx="792088" cy="470008"/>
              </a:xfrm>
              <a:custGeom>
                <a:avLst/>
                <a:gdLst>
                  <a:gd name="connsiteX0" fmla="*/ 385091 w 792088"/>
                  <a:gd name="connsiteY0" fmla="*/ 0 h 470008"/>
                  <a:gd name="connsiteX1" fmla="*/ 550964 w 792088"/>
                  <a:gd name="connsiteY1" fmla="*/ 62507 h 470008"/>
                  <a:gd name="connsiteX2" fmla="*/ 553975 w 792088"/>
                  <a:gd name="connsiteY2" fmla="*/ 70987 h 470008"/>
                  <a:gd name="connsiteX3" fmla="*/ 566515 w 792088"/>
                  <a:gd name="connsiteY3" fmla="*/ 72426 h 470008"/>
                  <a:gd name="connsiteX4" fmla="*/ 676463 w 792088"/>
                  <a:gd name="connsiteY4" fmla="*/ 166728 h 470008"/>
                  <a:gd name="connsiteX5" fmla="*/ 698346 w 792088"/>
                  <a:gd name="connsiteY5" fmla="*/ 166728 h 470008"/>
                  <a:gd name="connsiteX6" fmla="*/ 722213 w 792088"/>
                  <a:gd name="connsiteY6" fmla="*/ 190595 h 470008"/>
                  <a:gd name="connsiteX7" fmla="*/ 722213 w 792088"/>
                  <a:gd name="connsiteY7" fmla="*/ 242649 h 470008"/>
                  <a:gd name="connsiteX8" fmla="*/ 744181 w 792088"/>
                  <a:gd name="connsiteY8" fmla="*/ 242649 h 470008"/>
                  <a:gd name="connsiteX9" fmla="*/ 768048 w 792088"/>
                  <a:gd name="connsiteY9" fmla="*/ 266516 h 470008"/>
                  <a:gd name="connsiteX10" fmla="*/ 768048 w 792088"/>
                  <a:gd name="connsiteY10" fmla="*/ 326806 h 470008"/>
                  <a:gd name="connsiteX11" fmla="*/ 768221 w 792088"/>
                  <a:gd name="connsiteY11" fmla="*/ 326806 h 470008"/>
                  <a:gd name="connsiteX12" fmla="*/ 792088 w 792088"/>
                  <a:gd name="connsiteY12" fmla="*/ 350673 h 470008"/>
                  <a:gd name="connsiteX13" fmla="*/ 792088 w 792088"/>
                  <a:gd name="connsiteY13" fmla="*/ 446141 h 470008"/>
                  <a:gd name="connsiteX14" fmla="*/ 768221 w 792088"/>
                  <a:gd name="connsiteY14" fmla="*/ 470008 h 470008"/>
                  <a:gd name="connsiteX15" fmla="*/ 23867 w 792088"/>
                  <a:gd name="connsiteY15" fmla="*/ 470008 h 470008"/>
                  <a:gd name="connsiteX16" fmla="*/ 0 w 792088"/>
                  <a:gd name="connsiteY16" fmla="*/ 446141 h 470008"/>
                  <a:gd name="connsiteX17" fmla="*/ 0 w 792088"/>
                  <a:gd name="connsiteY17" fmla="*/ 350673 h 470008"/>
                  <a:gd name="connsiteX18" fmla="*/ 6991 w 792088"/>
                  <a:gd name="connsiteY18" fmla="*/ 333797 h 470008"/>
                  <a:gd name="connsiteX19" fmla="*/ 12048 w 792088"/>
                  <a:gd name="connsiteY19" fmla="*/ 331702 h 470008"/>
                  <a:gd name="connsiteX20" fmla="*/ 12048 w 792088"/>
                  <a:gd name="connsiteY20" fmla="*/ 266516 h 470008"/>
                  <a:gd name="connsiteX21" fmla="*/ 35915 w 792088"/>
                  <a:gd name="connsiteY21" fmla="*/ 242649 h 470008"/>
                  <a:gd name="connsiteX22" fmla="*/ 74140 w 792088"/>
                  <a:gd name="connsiteY22" fmla="*/ 242649 h 470008"/>
                  <a:gd name="connsiteX23" fmla="*/ 74140 w 792088"/>
                  <a:gd name="connsiteY23" fmla="*/ 190595 h 470008"/>
                  <a:gd name="connsiteX24" fmla="*/ 98007 w 792088"/>
                  <a:gd name="connsiteY24" fmla="*/ 166728 h 470008"/>
                  <a:gd name="connsiteX25" fmla="*/ 119626 w 792088"/>
                  <a:gd name="connsiteY25" fmla="*/ 166728 h 470008"/>
                  <a:gd name="connsiteX26" fmla="*/ 172353 w 792088"/>
                  <a:gd name="connsiteY26" fmla="*/ 94359 h 470008"/>
                  <a:gd name="connsiteX27" fmla="*/ 213509 w 792088"/>
                  <a:gd name="connsiteY27" fmla="*/ 78584 h 470008"/>
                  <a:gd name="connsiteX28" fmla="*/ 219218 w 792088"/>
                  <a:gd name="connsiteY28" fmla="*/ 62507 h 470008"/>
                  <a:gd name="connsiteX29" fmla="*/ 385091 w 792088"/>
                  <a:gd name="connsiteY29" fmla="*/ 0 h 470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792088" h="470008">
                    <a:moveTo>
                      <a:pt x="385091" y="0"/>
                    </a:moveTo>
                    <a:cubicBezTo>
                      <a:pt x="459658" y="0"/>
                      <a:pt x="523635" y="25774"/>
                      <a:pt x="550964" y="62507"/>
                    </a:cubicBezTo>
                    <a:lnTo>
                      <a:pt x="553975" y="70987"/>
                    </a:lnTo>
                    <a:lnTo>
                      <a:pt x="566515" y="72426"/>
                    </a:lnTo>
                    <a:cubicBezTo>
                      <a:pt x="631127" y="87963"/>
                      <a:pt x="676463" y="124335"/>
                      <a:pt x="676463" y="166728"/>
                    </a:cubicBezTo>
                    <a:lnTo>
                      <a:pt x="698346" y="166728"/>
                    </a:lnTo>
                    <a:cubicBezTo>
                      <a:pt x="711527" y="166728"/>
                      <a:pt x="722213" y="177414"/>
                      <a:pt x="722213" y="190595"/>
                    </a:cubicBezTo>
                    <a:lnTo>
                      <a:pt x="722213" y="242649"/>
                    </a:lnTo>
                    <a:lnTo>
                      <a:pt x="744181" y="242649"/>
                    </a:lnTo>
                    <a:cubicBezTo>
                      <a:pt x="757362" y="242649"/>
                      <a:pt x="768048" y="253335"/>
                      <a:pt x="768048" y="266516"/>
                    </a:cubicBezTo>
                    <a:lnTo>
                      <a:pt x="768048" y="326806"/>
                    </a:lnTo>
                    <a:lnTo>
                      <a:pt x="768221" y="326806"/>
                    </a:lnTo>
                    <a:cubicBezTo>
                      <a:pt x="781402" y="326806"/>
                      <a:pt x="792088" y="337492"/>
                      <a:pt x="792088" y="350673"/>
                    </a:cubicBezTo>
                    <a:lnTo>
                      <a:pt x="792088" y="446141"/>
                    </a:lnTo>
                    <a:cubicBezTo>
                      <a:pt x="792088" y="459322"/>
                      <a:pt x="781402" y="470008"/>
                      <a:pt x="768221" y="470008"/>
                    </a:cubicBezTo>
                    <a:lnTo>
                      <a:pt x="23867" y="470008"/>
                    </a:lnTo>
                    <a:cubicBezTo>
                      <a:pt x="10686" y="470008"/>
                      <a:pt x="0" y="459322"/>
                      <a:pt x="0" y="446141"/>
                    </a:cubicBezTo>
                    <a:lnTo>
                      <a:pt x="0" y="350673"/>
                    </a:lnTo>
                    <a:cubicBezTo>
                      <a:pt x="0" y="344083"/>
                      <a:pt x="2672" y="338116"/>
                      <a:pt x="6991" y="333797"/>
                    </a:cubicBezTo>
                    <a:lnTo>
                      <a:pt x="12048" y="331702"/>
                    </a:lnTo>
                    <a:lnTo>
                      <a:pt x="12048" y="266516"/>
                    </a:lnTo>
                    <a:cubicBezTo>
                      <a:pt x="12048" y="253335"/>
                      <a:pt x="22734" y="242649"/>
                      <a:pt x="35915" y="242649"/>
                    </a:cubicBezTo>
                    <a:lnTo>
                      <a:pt x="74140" y="242649"/>
                    </a:lnTo>
                    <a:lnTo>
                      <a:pt x="74140" y="190595"/>
                    </a:lnTo>
                    <a:cubicBezTo>
                      <a:pt x="74140" y="177414"/>
                      <a:pt x="84826" y="166728"/>
                      <a:pt x="98007" y="166728"/>
                    </a:cubicBezTo>
                    <a:lnTo>
                      <a:pt x="119626" y="166728"/>
                    </a:lnTo>
                    <a:cubicBezTo>
                      <a:pt x="119626" y="138466"/>
                      <a:pt x="139776" y="112880"/>
                      <a:pt x="172353" y="94359"/>
                    </a:cubicBezTo>
                    <a:lnTo>
                      <a:pt x="213509" y="78584"/>
                    </a:lnTo>
                    <a:lnTo>
                      <a:pt x="219218" y="62507"/>
                    </a:lnTo>
                    <a:cubicBezTo>
                      <a:pt x="246547" y="25774"/>
                      <a:pt x="310525" y="0"/>
                      <a:pt x="385091" y="0"/>
                    </a:cubicBezTo>
                    <a:close/>
                  </a:path>
                </a:pathLst>
              </a:cu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1195" name="Freihandform: Form 1194" descr="Bauarbeiter Silhouette">
                <a:extLst>
                  <a:ext uri="{FF2B5EF4-FFF2-40B4-BE49-F238E27FC236}">
                    <a16:creationId xmlns:a16="http://schemas.microsoft.com/office/drawing/2014/main" id="{B4CF3846-D32B-3CAC-CA06-0DFDD0CAF31A}"/>
                  </a:ext>
                </a:extLst>
              </p:cNvPr>
              <p:cNvSpPr/>
              <p:nvPr/>
            </p:nvSpPr>
            <p:spPr>
              <a:xfrm>
                <a:off x="8472264" y="2426134"/>
                <a:ext cx="1043720" cy="546975"/>
              </a:xfrm>
              <a:custGeom>
                <a:avLst/>
                <a:gdLst>
                  <a:gd name="connsiteX0" fmla="*/ 451174 w 1043720"/>
                  <a:gd name="connsiteY0" fmla="*/ 52186 h 546975"/>
                  <a:gd name="connsiteX1" fmla="*/ 382732 w 1043720"/>
                  <a:gd name="connsiteY1" fmla="*/ 105755 h 546975"/>
                  <a:gd name="connsiteX2" fmla="*/ 427612 w 1043720"/>
                  <a:gd name="connsiteY2" fmla="*/ 282587 h 546975"/>
                  <a:gd name="connsiteX3" fmla="*/ 410991 w 1043720"/>
                  <a:gd name="connsiteY3" fmla="*/ 311550 h 546975"/>
                  <a:gd name="connsiteX4" fmla="*/ 409660 w 1043720"/>
                  <a:gd name="connsiteY4" fmla="*/ 311864 h 546975"/>
                  <a:gd name="connsiteX5" fmla="*/ 403215 w 1043720"/>
                  <a:gd name="connsiteY5" fmla="*/ 311864 h 546975"/>
                  <a:gd name="connsiteX6" fmla="*/ 380306 w 1043720"/>
                  <a:gd name="connsiteY6" fmla="*/ 293912 h 546975"/>
                  <a:gd name="connsiteX7" fmla="*/ 343775 w 1043720"/>
                  <a:gd name="connsiteY7" fmla="*/ 144451 h 546975"/>
                  <a:gd name="connsiteX8" fmla="*/ 145469 w 1043720"/>
                  <a:gd name="connsiteY8" fmla="*/ 453496 h 546975"/>
                  <a:gd name="connsiteX9" fmla="*/ 145469 w 1043720"/>
                  <a:gd name="connsiteY9" fmla="*/ 495767 h 546975"/>
                  <a:gd name="connsiteX10" fmla="*/ 899765 w 1043720"/>
                  <a:gd name="connsiteY10" fmla="*/ 495767 h 546975"/>
                  <a:gd name="connsiteX11" fmla="*/ 899765 w 1043720"/>
                  <a:gd name="connsiteY11" fmla="*/ 453496 h 546975"/>
                  <a:gd name="connsiteX12" fmla="*/ 701458 w 1043720"/>
                  <a:gd name="connsiteY12" fmla="*/ 144451 h 546975"/>
                  <a:gd name="connsiteX13" fmla="*/ 663676 w 1043720"/>
                  <a:gd name="connsiteY13" fmla="*/ 293912 h 546975"/>
                  <a:gd name="connsiteX14" fmla="*/ 640766 w 1043720"/>
                  <a:gd name="connsiteY14" fmla="*/ 311864 h 546975"/>
                  <a:gd name="connsiteX15" fmla="*/ 634399 w 1043720"/>
                  <a:gd name="connsiteY15" fmla="*/ 311864 h 546975"/>
                  <a:gd name="connsiteX16" fmla="*/ 634156 w 1043720"/>
                  <a:gd name="connsiteY16" fmla="*/ 311814 h 546975"/>
                  <a:gd name="connsiteX17" fmla="*/ 616134 w 1043720"/>
                  <a:gd name="connsiteY17" fmla="*/ 283918 h 546975"/>
                  <a:gd name="connsiteX18" fmla="*/ 616447 w 1043720"/>
                  <a:gd name="connsiteY18" fmla="*/ 282587 h 546975"/>
                  <a:gd name="connsiteX19" fmla="*/ 661301 w 1043720"/>
                  <a:gd name="connsiteY19" fmla="*/ 105781 h 546975"/>
                  <a:gd name="connsiteX20" fmla="*/ 592833 w 1043720"/>
                  <a:gd name="connsiteY20" fmla="*/ 52186 h 546975"/>
                  <a:gd name="connsiteX21" fmla="*/ 451174 w 1043720"/>
                  <a:gd name="connsiteY21" fmla="*/ 0 h 546975"/>
                  <a:gd name="connsiteX22" fmla="*/ 593016 w 1043720"/>
                  <a:gd name="connsiteY22" fmla="*/ 0 h 546975"/>
                  <a:gd name="connsiteX23" fmla="*/ 711347 w 1043720"/>
                  <a:gd name="connsiteY23" fmla="*/ 90491 h 546975"/>
                  <a:gd name="connsiteX24" fmla="*/ 726220 w 1043720"/>
                  <a:gd name="connsiteY24" fmla="*/ 98475 h 546975"/>
                  <a:gd name="connsiteX25" fmla="*/ 951925 w 1043720"/>
                  <a:gd name="connsiteY25" fmla="*/ 450209 h 546975"/>
                  <a:gd name="connsiteX26" fmla="*/ 951925 w 1043720"/>
                  <a:gd name="connsiteY26" fmla="*/ 451852 h 546975"/>
                  <a:gd name="connsiteX27" fmla="*/ 951925 w 1043720"/>
                  <a:gd name="connsiteY27" fmla="*/ 495767 h 546975"/>
                  <a:gd name="connsiteX28" fmla="*/ 1017627 w 1043720"/>
                  <a:gd name="connsiteY28" fmla="*/ 495767 h 546975"/>
                  <a:gd name="connsiteX29" fmla="*/ 1043720 w 1043720"/>
                  <a:gd name="connsiteY29" fmla="*/ 521860 h 546975"/>
                  <a:gd name="connsiteX30" fmla="*/ 1036078 w 1043720"/>
                  <a:gd name="connsiteY30" fmla="*/ 540311 h 546975"/>
                  <a:gd name="connsiteX31" fmla="*/ 1019988 w 1043720"/>
                  <a:gd name="connsiteY31" fmla="*/ 546975 h 546975"/>
                  <a:gd name="connsiteX32" fmla="*/ 23732 w 1043720"/>
                  <a:gd name="connsiteY32" fmla="*/ 546975 h 546975"/>
                  <a:gd name="connsiteX33" fmla="*/ 7642 w 1043720"/>
                  <a:gd name="connsiteY33" fmla="*/ 540311 h 546975"/>
                  <a:gd name="connsiteX34" fmla="*/ 0 w 1043720"/>
                  <a:gd name="connsiteY34" fmla="*/ 521860 h 546975"/>
                  <a:gd name="connsiteX35" fmla="*/ 26093 w 1043720"/>
                  <a:gd name="connsiteY35" fmla="*/ 495767 h 546975"/>
                  <a:gd name="connsiteX36" fmla="*/ 93387 w 1043720"/>
                  <a:gd name="connsiteY36" fmla="*/ 495767 h 546975"/>
                  <a:gd name="connsiteX37" fmla="*/ 93387 w 1043720"/>
                  <a:gd name="connsiteY37" fmla="*/ 451931 h 546975"/>
                  <a:gd name="connsiteX38" fmla="*/ 93387 w 1043720"/>
                  <a:gd name="connsiteY38" fmla="*/ 450287 h 546975"/>
                  <a:gd name="connsiteX39" fmla="*/ 319091 w 1043720"/>
                  <a:gd name="connsiteY39" fmla="*/ 98553 h 546975"/>
                  <a:gd name="connsiteX40" fmla="*/ 332581 w 1043720"/>
                  <a:gd name="connsiteY40" fmla="*/ 91326 h 546975"/>
                  <a:gd name="connsiteX41" fmla="*/ 451174 w 1043720"/>
                  <a:gd name="connsiteY41" fmla="*/ 0 h 546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3720" h="546975">
                    <a:moveTo>
                      <a:pt x="451174" y="52186"/>
                    </a:moveTo>
                    <a:cubicBezTo>
                      <a:pt x="418798" y="52297"/>
                      <a:pt x="390617" y="74352"/>
                      <a:pt x="382732" y="105755"/>
                    </a:cubicBezTo>
                    <a:lnTo>
                      <a:pt x="427612" y="282587"/>
                    </a:lnTo>
                    <a:cubicBezTo>
                      <a:pt x="431004" y="295172"/>
                      <a:pt x="423568" y="308130"/>
                      <a:pt x="410991" y="311550"/>
                    </a:cubicBezTo>
                    <a:cubicBezTo>
                      <a:pt x="410552" y="311678"/>
                      <a:pt x="410109" y="311785"/>
                      <a:pt x="409660" y="311864"/>
                    </a:cubicBezTo>
                    <a:lnTo>
                      <a:pt x="403215" y="311864"/>
                    </a:lnTo>
                    <a:cubicBezTo>
                      <a:pt x="392345" y="311903"/>
                      <a:pt x="382865" y="304477"/>
                      <a:pt x="380306" y="293912"/>
                    </a:cubicBezTo>
                    <a:lnTo>
                      <a:pt x="343775" y="144451"/>
                    </a:lnTo>
                    <a:cubicBezTo>
                      <a:pt x="228679" y="206242"/>
                      <a:pt x="153683" y="323120"/>
                      <a:pt x="145469" y="453496"/>
                    </a:cubicBezTo>
                    <a:lnTo>
                      <a:pt x="145469" y="495767"/>
                    </a:lnTo>
                    <a:lnTo>
                      <a:pt x="899765" y="495767"/>
                    </a:lnTo>
                    <a:lnTo>
                      <a:pt x="899765" y="453496"/>
                    </a:lnTo>
                    <a:cubicBezTo>
                      <a:pt x="891551" y="323120"/>
                      <a:pt x="816554" y="206242"/>
                      <a:pt x="701458" y="144451"/>
                    </a:cubicBezTo>
                    <a:lnTo>
                      <a:pt x="663676" y="293912"/>
                    </a:lnTo>
                    <a:cubicBezTo>
                      <a:pt x="661116" y="304477"/>
                      <a:pt x="651636" y="311903"/>
                      <a:pt x="640766" y="311864"/>
                    </a:cubicBezTo>
                    <a:lnTo>
                      <a:pt x="634399" y="311864"/>
                    </a:lnTo>
                    <a:cubicBezTo>
                      <a:pt x="634318" y="311848"/>
                      <a:pt x="634237" y="311830"/>
                      <a:pt x="634156" y="311814"/>
                    </a:cubicBezTo>
                    <a:cubicBezTo>
                      <a:pt x="621478" y="309087"/>
                      <a:pt x="613407" y="296599"/>
                      <a:pt x="616134" y="283918"/>
                    </a:cubicBezTo>
                    <a:cubicBezTo>
                      <a:pt x="616212" y="283469"/>
                      <a:pt x="616319" y="283026"/>
                      <a:pt x="616447" y="282587"/>
                    </a:cubicBezTo>
                    <a:lnTo>
                      <a:pt x="661301" y="105781"/>
                    </a:lnTo>
                    <a:cubicBezTo>
                      <a:pt x="653416" y="74364"/>
                      <a:pt x="625225" y="52297"/>
                      <a:pt x="592833" y="52186"/>
                    </a:cubicBezTo>
                    <a:close/>
                    <a:moveTo>
                      <a:pt x="451174" y="0"/>
                    </a:moveTo>
                    <a:lnTo>
                      <a:pt x="593016" y="0"/>
                    </a:lnTo>
                    <a:cubicBezTo>
                      <a:pt x="648330" y="98"/>
                      <a:pt x="696761" y="37135"/>
                      <a:pt x="711347" y="90491"/>
                    </a:cubicBezTo>
                    <a:lnTo>
                      <a:pt x="726220" y="98475"/>
                    </a:lnTo>
                    <a:cubicBezTo>
                      <a:pt x="857570" y="168420"/>
                      <a:pt x="943072" y="301661"/>
                      <a:pt x="951925" y="450209"/>
                    </a:cubicBezTo>
                    <a:lnTo>
                      <a:pt x="951925" y="451852"/>
                    </a:lnTo>
                    <a:lnTo>
                      <a:pt x="951925" y="495767"/>
                    </a:lnTo>
                    <a:lnTo>
                      <a:pt x="1017627" y="495767"/>
                    </a:lnTo>
                    <a:cubicBezTo>
                      <a:pt x="1032038" y="495767"/>
                      <a:pt x="1043720" y="507449"/>
                      <a:pt x="1043720" y="521860"/>
                    </a:cubicBezTo>
                    <a:cubicBezTo>
                      <a:pt x="1043720" y="529066"/>
                      <a:pt x="1040800" y="535589"/>
                      <a:pt x="1036078" y="540311"/>
                    </a:cubicBezTo>
                    <a:lnTo>
                      <a:pt x="1019988" y="546975"/>
                    </a:lnTo>
                    <a:lnTo>
                      <a:pt x="23732" y="546975"/>
                    </a:lnTo>
                    <a:lnTo>
                      <a:pt x="7642" y="540311"/>
                    </a:lnTo>
                    <a:cubicBezTo>
                      <a:pt x="2921" y="535589"/>
                      <a:pt x="0" y="529066"/>
                      <a:pt x="0" y="521860"/>
                    </a:cubicBezTo>
                    <a:cubicBezTo>
                      <a:pt x="0" y="507449"/>
                      <a:pt x="11682" y="495767"/>
                      <a:pt x="26093" y="495767"/>
                    </a:cubicBezTo>
                    <a:lnTo>
                      <a:pt x="93387" y="495767"/>
                    </a:lnTo>
                    <a:lnTo>
                      <a:pt x="93387" y="451931"/>
                    </a:lnTo>
                    <a:lnTo>
                      <a:pt x="93387" y="450287"/>
                    </a:lnTo>
                    <a:cubicBezTo>
                      <a:pt x="102232" y="301737"/>
                      <a:pt x="187734" y="168490"/>
                      <a:pt x="319091" y="98553"/>
                    </a:cubicBezTo>
                    <a:lnTo>
                      <a:pt x="332581" y="91326"/>
                    </a:lnTo>
                    <a:cubicBezTo>
                      <a:pt x="346886" y="37550"/>
                      <a:pt x="395528" y="91"/>
                      <a:pt x="45117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259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89" name="Gruppieren 1188">
              <a:extLst>
                <a:ext uri="{FF2B5EF4-FFF2-40B4-BE49-F238E27FC236}">
                  <a16:creationId xmlns:a16="http://schemas.microsoft.com/office/drawing/2014/main" id="{71502985-9986-03BF-91B3-E73DFABEF3F8}"/>
                </a:ext>
              </a:extLst>
            </p:cNvPr>
            <p:cNvGrpSpPr/>
            <p:nvPr/>
          </p:nvGrpSpPr>
          <p:grpSpPr>
            <a:xfrm>
              <a:off x="11242288" y="5315208"/>
              <a:ext cx="233046" cy="122131"/>
              <a:chOff x="9650969" y="2426134"/>
              <a:chExt cx="1043720" cy="546975"/>
            </a:xfrm>
          </p:grpSpPr>
          <p:sp>
            <p:nvSpPr>
              <p:cNvPr id="1190" name="Freihandform: Form 1189">
                <a:extLst>
                  <a:ext uri="{FF2B5EF4-FFF2-40B4-BE49-F238E27FC236}">
                    <a16:creationId xmlns:a16="http://schemas.microsoft.com/office/drawing/2014/main" id="{02DD7664-7DDF-A2B4-DAFB-D03ED20D3C45}"/>
                  </a:ext>
                </a:extLst>
              </p:cNvPr>
              <p:cNvSpPr/>
              <p:nvPr/>
            </p:nvSpPr>
            <p:spPr>
              <a:xfrm>
                <a:off x="9778563" y="2459698"/>
                <a:ext cx="792088" cy="470008"/>
              </a:xfrm>
              <a:custGeom>
                <a:avLst/>
                <a:gdLst>
                  <a:gd name="connsiteX0" fmla="*/ 385091 w 792088"/>
                  <a:gd name="connsiteY0" fmla="*/ 0 h 470008"/>
                  <a:gd name="connsiteX1" fmla="*/ 550964 w 792088"/>
                  <a:gd name="connsiteY1" fmla="*/ 62507 h 470008"/>
                  <a:gd name="connsiteX2" fmla="*/ 553975 w 792088"/>
                  <a:gd name="connsiteY2" fmla="*/ 70987 h 470008"/>
                  <a:gd name="connsiteX3" fmla="*/ 566515 w 792088"/>
                  <a:gd name="connsiteY3" fmla="*/ 72426 h 470008"/>
                  <a:gd name="connsiteX4" fmla="*/ 676463 w 792088"/>
                  <a:gd name="connsiteY4" fmla="*/ 166728 h 470008"/>
                  <a:gd name="connsiteX5" fmla="*/ 698346 w 792088"/>
                  <a:gd name="connsiteY5" fmla="*/ 166728 h 470008"/>
                  <a:gd name="connsiteX6" fmla="*/ 722213 w 792088"/>
                  <a:gd name="connsiteY6" fmla="*/ 190595 h 470008"/>
                  <a:gd name="connsiteX7" fmla="*/ 722213 w 792088"/>
                  <a:gd name="connsiteY7" fmla="*/ 242649 h 470008"/>
                  <a:gd name="connsiteX8" fmla="*/ 744181 w 792088"/>
                  <a:gd name="connsiteY8" fmla="*/ 242649 h 470008"/>
                  <a:gd name="connsiteX9" fmla="*/ 768048 w 792088"/>
                  <a:gd name="connsiteY9" fmla="*/ 266516 h 470008"/>
                  <a:gd name="connsiteX10" fmla="*/ 768048 w 792088"/>
                  <a:gd name="connsiteY10" fmla="*/ 326806 h 470008"/>
                  <a:gd name="connsiteX11" fmla="*/ 768221 w 792088"/>
                  <a:gd name="connsiteY11" fmla="*/ 326806 h 470008"/>
                  <a:gd name="connsiteX12" fmla="*/ 792088 w 792088"/>
                  <a:gd name="connsiteY12" fmla="*/ 350673 h 470008"/>
                  <a:gd name="connsiteX13" fmla="*/ 792088 w 792088"/>
                  <a:gd name="connsiteY13" fmla="*/ 446141 h 470008"/>
                  <a:gd name="connsiteX14" fmla="*/ 768221 w 792088"/>
                  <a:gd name="connsiteY14" fmla="*/ 470008 h 470008"/>
                  <a:gd name="connsiteX15" fmla="*/ 23867 w 792088"/>
                  <a:gd name="connsiteY15" fmla="*/ 470008 h 470008"/>
                  <a:gd name="connsiteX16" fmla="*/ 0 w 792088"/>
                  <a:gd name="connsiteY16" fmla="*/ 446141 h 470008"/>
                  <a:gd name="connsiteX17" fmla="*/ 0 w 792088"/>
                  <a:gd name="connsiteY17" fmla="*/ 350673 h 470008"/>
                  <a:gd name="connsiteX18" fmla="*/ 6991 w 792088"/>
                  <a:gd name="connsiteY18" fmla="*/ 333797 h 470008"/>
                  <a:gd name="connsiteX19" fmla="*/ 12048 w 792088"/>
                  <a:gd name="connsiteY19" fmla="*/ 331702 h 470008"/>
                  <a:gd name="connsiteX20" fmla="*/ 12048 w 792088"/>
                  <a:gd name="connsiteY20" fmla="*/ 266516 h 470008"/>
                  <a:gd name="connsiteX21" fmla="*/ 35915 w 792088"/>
                  <a:gd name="connsiteY21" fmla="*/ 242649 h 470008"/>
                  <a:gd name="connsiteX22" fmla="*/ 74140 w 792088"/>
                  <a:gd name="connsiteY22" fmla="*/ 242649 h 470008"/>
                  <a:gd name="connsiteX23" fmla="*/ 74140 w 792088"/>
                  <a:gd name="connsiteY23" fmla="*/ 190595 h 470008"/>
                  <a:gd name="connsiteX24" fmla="*/ 98007 w 792088"/>
                  <a:gd name="connsiteY24" fmla="*/ 166728 h 470008"/>
                  <a:gd name="connsiteX25" fmla="*/ 119626 w 792088"/>
                  <a:gd name="connsiteY25" fmla="*/ 166728 h 470008"/>
                  <a:gd name="connsiteX26" fmla="*/ 172353 w 792088"/>
                  <a:gd name="connsiteY26" fmla="*/ 94359 h 470008"/>
                  <a:gd name="connsiteX27" fmla="*/ 213509 w 792088"/>
                  <a:gd name="connsiteY27" fmla="*/ 78584 h 470008"/>
                  <a:gd name="connsiteX28" fmla="*/ 219218 w 792088"/>
                  <a:gd name="connsiteY28" fmla="*/ 62507 h 470008"/>
                  <a:gd name="connsiteX29" fmla="*/ 385091 w 792088"/>
                  <a:gd name="connsiteY29" fmla="*/ 0 h 470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792088" h="470008">
                    <a:moveTo>
                      <a:pt x="385091" y="0"/>
                    </a:moveTo>
                    <a:cubicBezTo>
                      <a:pt x="459658" y="0"/>
                      <a:pt x="523635" y="25774"/>
                      <a:pt x="550964" y="62507"/>
                    </a:cubicBezTo>
                    <a:lnTo>
                      <a:pt x="553975" y="70987"/>
                    </a:lnTo>
                    <a:lnTo>
                      <a:pt x="566515" y="72426"/>
                    </a:lnTo>
                    <a:cubicBezTo>
                      <a:pt x="631127" y="87963"/>
                      <a:pt x="676463" y="124335"/>
                      <a:pt x="676463" y="166728"/>
                    </a:cubicBezTo>
                    <a:lnTo>
                      <a:pt x="698346" y="166728"/>
                    </a:lnTo>
                    <a:cubicBezTo>
                      <a:pt x="711527" y="166728"/>
                      <a:pt x="722213" y="177414"/>
                      <a:pt x="722213" y="190595"/>
                    </a:cubicBezTo>
                    <a:lnTo>
                      <a:pt x="722213" y="242649"/>
                    </a:lnTo>
                    <a:lnTo>
                      <a:pt x="744181" y="242649"/>
                    </a:lnTo>
                    <a:cubicBezTo>
                      <a:pt x="757362" y="242649"/>
                      <a:pt x="768048" y="253335"/>
                      <a:pt x="768048" y="266516"/>
                    </a:cubicBezTo>
                    <a:lnTo>
                      <a:pt x="768048" y="326806"/>
                    </a:lnTo>
                    <a:lnTo>
                      <a:pt x="768221" y="326806"/>
                    </a:lnTo>
                    <a:cubicBezTo>
                      <a:pt x="781402" y="326806"/>
                      <a:pt x="792088" y="337492"/>
                      <a:pt x="792088" y="350673"/>
                    </a:cubicBezTo>
                    <a:lnTo>
                      <a:pt x="792088" y="446141"/>
                    </a:lnTo>
                    <a:cubicBezTo>
                      <a:pt x="792088" y="459322"/>
                      <a:pt x="781402" y="470008"/>
                      <a:pt x="768221" y="470008"/>
                    </a:cubicBezTo>
                    <a:lnTo>
                      <a:pt x="23867" y="470008"/>
                    </a:lnTo>
                    <a:cubicBezTo>
                      <a:pt x="10686" y="470008"/>
                      <a:pt x="0" y="459322"/>
                      <a:pt x="0" y="446141"/>
                    </a:cubicBezTo>
                    <a:lnTo>
                      <a:pt x="0" y="350673"/>
                    </a:lnTo>
                    <a:cubicBezTo>
                      <a:pt x="0" y="344083"/>
                      <a:pt x="2672" y="338116"/>
                      <a:pt x="6991" y="333797"/>
                    </a:cubicBezTo>
                    <a:lnTo>
                      <a:pt x="12048" y="331702"/>
                    </a:lnTo>
                    <a:lnTo>
                      <a:pt x="12048" y="266516"/>
                    </a:lnTo>
                    <a:cubicBezTo>
                      <a:pt x="12048" y="253335"/>
                      <a:pt x="22734" y="242649"/>
                      <a:pt x="35915" y="242649"/>
                    </a:cubicBezTo>
                    <a:lnTo>
                      <a:pt x="74140" y="242649"/>
                    </a:lnTo>
                    <a:lnTo>
                      <a:pt x="74140" y="190595"/>
                    </a:lnTo>
                    <a:cubicBezTo>
                      <a:pt x="74140" y="177414"/>
                      <a:pt x="84826" y="166728"/>
                      <a:pt x="98007" y="166728"/>
                    </a:cubicBezTo>
                    <a:lnTo>
                      <a:pt x="119626" y="166728"/>
                    </a:lnTo>
                    <a:cubicBezTo>
                      <a:pt x="119626" y="138466"/>
                      <a:pt x="139776" y="112880"/>
                      <a:pt x="172353" y="94359"/>
                    </a:cubicBezTo>
                    <a:lnTo>
                      <a:pt x="213509" y="78584"/>
                    </a:lnTo>
                    <a:lnTo>
                      <a:pt x="219218" y="62507"/>
                    </a:lnTo>
                    <a:cubicBezTo>
                      <a:pt x="246547" y="25774"/>
                      <a:pt x="310525" y="0"/>
                      <a:pt x="385091" y="0"/>
                    </a:cubicBezTo>
                    <a:close/>
                  </a:path>
                </a:pathLst>
              </a:custGeom>
              <a:solidFill>
                <a:srgbClr val="FFFF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1191" name="Freihandform: Form 1190" descr="Bauarbeiter Silhouette">
                <a:extLst>
                  <a:ext uri="{FF2B5EF4-FFF2-40B4-BE49-F238E27FC236}">
                    <a16:creationId xmlns:a16="http://schemas.microsoft.com/office/drawing/2014/main" id="{0C11CC64-4DC2-71BF-A580-41F64FCBF78B}"/>
                  </a:ext>
                </a:extLst>
              </p:cNvPr>
              <p:cNvSpPr/>
              <p:nvPr/>
            </p:nvSpPr>
            <p:spPr>
              <a:xfrm>
                <a:off x="9650969" y="2426134"/>
                <a:ext cx="1043720" cy="546975"/>
              </a:xfrm>
              <a:custGeom>
                <a:avLst/>
                <a:gdLst>
                  <a:gd name="connsiteX0" fmla="*/ 451174 w 1043720"/>
                  <a:gd name="connsiteY0" fmla="*/ 52186 h 546975"/>
                  <a:gd name="connsiteX1" fmla="*/ 382732 w 1043720"/>
                  <a:gd name="connsiteY1" fmla="*/ 105755 h 546975"/>
                  <a:gd name="connsiteX2" fmla="*/ 427612 w 1043720"/>
                  <a:gd name="connsiteY2" fmla="*/ 282587 h 546975"/>
                  <a:gd name="connsiteX3" fmla="*/ 410991 w 1043720"/>
                  <a:gd name="connsiteY3" fmla="*/ 311550 h 546975"/>
                  <a:gd name="connsiteX4" fmla="*/ 409660 w 1043720"/>
                  <a:gd name="connsiteY4" fmla="*/ 311864 h 546975"/>
                  <a:gd name="connsiteX5" fmla="*/ 403215 w 1043720"/>
                  <a:gd name="connsiteY5" fmla="*/ 311864 h 546975"/>
                  <a:gd name="connsiteX6" fmla="*/ 380306 w 1043720"/>
                  <a:gd name="connsiteY6" fmla="*/ 293912 h 546975"/>
                  <a:gd name="connsiteX7" fmla="*/ 343775 w 1043720"/>
                  <a:gd name="connsiteY7" fmla="*/ 144451 h 546975"/>
                  <a:gd name="connsiteX8" fmla="*/ 145469 w 1043720"/>
                  <a:gd name="connsiteY8" fmla="*/ 453496 h 546975"/>
                  <a:gd name="connsiteX9" fmla="*/ 145469 w 1043720"/>
                  <a:gd name="connsiteY9" fmla="*/ 495767 h 546975"/>
                  <a:gd name="connsiteX10" fmla="*/ 899765 w 1043720"/>
                  <a:gd name="connsiteY10" fmla="*/ 495767 h 546975"/>
                  <a:gd name="connsiteX11" fmla="*/ 899765 w 1043720"/>
                  <a:gd name="connsiteY11" fmla="*/ 453496 h 546975"/>
                  <a:gd name="connsiteX12" fmla="*/ 701458 w 1043720"/>
                  <a:gd name="connsiteY12" fmla="*/ 144451 h 546975"/>
                  <a:gd name="connsiteX13" fmla="*/ 663676 w 1043720"/>
                  <a:gd name="connsiteY13" fmla="*/ 293912 h 546975"/>
                  <a:gd name="connsiteX14" fmla="*/ 640766 w 1043720"/>
                  <a:gd name="connsiteY14" fmla="*/ 311864 h 546975"/>
                  <a:gd name="connsiteX15" fmla="*/ 634399 w 1043720"/>
                  <a:gd name="connsiteY15" fmla="*/ 311864 h 546975"/>
                  <a:gd name="connsiteX16" fmla="*/ 634156 w 1043720"/>
                  <a:gd name="connsiteY16" fmla="*/ 311814 h 546975"/>
                  <a:gd name="connsiteX17" fmla="*/ 616134 w 1043720"/>
                  <a:gd name="connsiteY17" fmla="*/ 283918 h 546975"/>
                  <a:gd name="connsiteX18" fmla="*/ 616447 w 1043720"/>
                  <a:gd name="connsiteY18" fmla="*/ 282587 h 546975"/>
                  <a:gd name="connsiteX19" fmla="*/ 661301 w 1043720"/>
                  <a:gd name="connsiteY19" fmla="*/ 105781 h 546975"/>
                  <a:gd name="connsiteX20" fmla="*/ 592833 w 1043720"/>
                  <a:gd name="connsiteY20" fmla="*/ 52186 h 546975"/>
                  <a:gd name="connsiteX21" fmla="*/ 451174 w 1043720"/>
                  <a:gd name="connsiteY21" fmla="*/ 0 h 546975"/>
                  <a:gd name="connsiteX22" fmla="*/ 593016 w 1043720"/>
                  <a:gd name="connsiteY22" fmla="*/ 0 h 546975"/>
                  <a:gd name="connsiteX23" fmla="*/ 711347 w 1043720"/>
                  <a:gd name="connsiteY23" fmla="*/ 90491 h 546975"/>
                  <a:gd name="connsiteX24" fmla="*/ 726220 w 1043720"/>
                  <a:gd name="connsiteY24" fmla="*/ 98475 h 546975"/>
                  <a:gd name="connsiteX25" fmla="*/ 951925 w 1043720"/>
                  <a:gd name="connsiteY25" fmla="*/ 450209 h 546975"/>
                  <a:gd name="connsiteX26" fmla="*/ 951925 w 1043720"/>
                  <a:gd name="connsiteY26" fmla="*/ 451852 h 546975"/>
                  <a:gd name="connsiteX27" fmla="*/ 951925 w 1043720"/>
                  <a:gd name="connsiteY27" fmla="*/ 495767 h 546975"/>
                  <a:gd name="connsiteX28" fmla="*/ 1017627 w 1043720"/>
                  <a:gd name="connsiteY28" fmla="*/ 495767 h 546975"/>
                  <a:gd name="connsiteX29" fmla="*/ 1043720 w 1043720"/>
                  <a:gd name="connsiteY29" fmla="*/ 521860 h 546975"/>
                  <a:gd name="connsiteX30" fmla="*/ 1036078 w 1043720"/>
                  <a:gd name="connsiteY30" fmla="*/ 540311 h 546975"/>
                  <a:gd name="connsiteX31" fmla="*/ 1019988 w 1043720"/>
                  <a:gd name="connsiteY31" fmla="*/ 546975 h 546975"/>
                  <a:gd name="connsiteX32" fmla="*/ 23732 w 1043720"/>
                  <a:gd name="connsiteY32" fmla="*/ 546975 h 546975"/>
                  <a:gd name="connsiteX33" fmla="*/ 7642 w 1043720"/>
                  <a:gd name="connsiteY33" fmla="*/ 540311 h 546975"/>
                  <a:gd name="connsiteX34" fmla="*/ 0 w 1043720"/>
                  <a:gd name="connsiteY34" fmla="*/ 521860 h 546975"/>
                  <a:gd name="connsiteX35" fmla="*/ 26093 w 1043720"/>
                  <a:gd name="connsiteY35" fmla="*/ 495767 h 546975"/>
                  <a:gd name="connsiteX36" fmla="*/ 93387 w 1043720"/>
                  <a:gd name="connsiteY36" fmla="*/ 495767 h 546975"/>
                  <a:gd name="connsiteX37" fmla="*/ 93387 w 1043720"/>
                  <a:gd name="connsiteY37" fmla="*/ 451931 h 546975"/>
                  <a:gd name="connsiteX38" fmla="*/ 93387 w 1043720"/>
                  <a:gd name="connsiteY38" fmla="*/ 450287 h 546975"/>
                  <a:gd name="connsiteX39" fmla="*/ 319091 w 1043720"/>
                  <a:gd name="connsiteY39" fmla="*/ 98553 h 546975"/>
                  <a:gd name="connsiteX40" fmla="*/ 332581 w 1043720"/>
                  <a:gd name="connsiteY40" fmla="*/ 91326 h 546975"/>
                  <a:gd name="connsiteX41" fmla="*/ 451174 w 1043720"/>
                  <a:gd name="connsiteY41" fmla="*/ 0 h 546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3720" h="546975">
                    <a:moveTo>
                      <a:pt x="451174" y="52186"/>
                    </a:moveTo>
                    <a:cubicBezTo>
                      <a:pt x="418798" y="52297"/>
                      <a:pt x="390617" y="74352"/>
                      <a:pt x="382732" y="105755"/>
                    </a:cubicBezTo>
                    <a:lnTo>
                      <a:pt x="427612" y="282587"/>
                    </a:lnTo>
                    <a:cubicBezTo>
                      <a:pt x="431004" y="295172"/>
                      <a:pt x="423568" y="308130"/>
                      <a:pt x="410991" y="311550"/>
                    </a:cubicBezTo>
                    <a:cubicBezTo>
                      <a:pt x="410552" y="311678"/>
                      <a:pt x="410109" y="311785"/>
                      <a:pt x="409660" y="311864"/>
                    </a:cubicBezTo>
                    <a:lnTo>
                      <a:pt x="403215" y="311864"/>
                    </a:lnTo>
                    <a:cubicBezTo>
                      <a:pt x="392345" y="311903"/>
                      <a:pt x="382865" y="304477"/>
                      <a:pt x="380306" y="293912"/>
                    </a:cubicBezTo>
                    <a:lnTo>
                      <a:pt x="343775" y="144451"/>
                    </a:lnTo>
                    <a:cubicBezTo>
                      <a:pt x="228679" y="206242"/>
                      <a:pt x="153683" y="323120"/>
                      <a:pt x="145469" y="453496"/>
                    </a:cubicBezTo>
                    <a:lnTo>
                      <a:pt x="145469" y="495767"/>
                    </a:lnTo>
                    <a:lnTo>
                      <a:pt x="899765" y="495767"/>
                    </a:lnTo>
                    <a:lnTo>
                      <a:pt x="899765" y="453496"/>
                    </a:lnTo>
                    <a:cubicBezTo>
                      <a:pt x="891551" y="323120"/>
                      <a:pt x="816554" y="206242"/>
                      <a:pt x="701458" y="144451"/>
                    </a:cubicBezTo>
                    <a:lnTo>
                      <a:pt x="663676" y="293912"/>
                    </a:lnTo>
                    <a:cubicBezTo>
                      <a:pt x="661116" y="304477"/>
                      <a:pt x="651636" y="311903"/>
                      <a:pt x="640766" y="311864"/>
                    </a:cubicBezTo>
                    <a:lnTo>
                      <a:pt x="634399" y="311864"/>
                    </a:lnTo>
                    <a:cubicBezTo>
                      <a:pt x="634318" y="311848"/>
                      <a:pt x="634237" y="311830"/>
                      <a:pt x="634156" y="311814"/>
                    </a:cubicBezTo>
                    <a:cubicBezTo>
                      <a:pt x="621478" y="309087"/>
                      <a:pt x="613407" y="296599"/>
                      <a:pt x="616134" y="283918"/>
                    </a:cubicBezTo>
                    <a:cubicBezTo>
                      <a:pt x="616212" y="283469"/>
                      <a:pt x="616319" y="283026"/>
                      <a:pt x="616447" y="282587"/>
                    </a:cubicBezTo>
                    <a:lnTo>
                      <a:pt x="661301" y="105781"/>
                    </a:lnTo>
                    <a:cubicBezTo>
                      <a:pt x="653416" y="74364"/>
                      <a:pt x="625225" y="52297"/>
                      <a:pt x="592833" y="52186"/>
                    </a:cubicBezTo>
                    <a:close/>
                    <a:moveTo>
                      <a:pt x="451174" y="0"/>
                    </a:moveTo>
                    <a:lnTo>
                      <a:pt x="593016" y="0"/>
                    </a:lnTo>
                    <a:cubicBezTo>
                      <a:pt x="648330" y="98"/>
                      <a:pt x="696761" y="37135"/>
                      <a:pt x="711347" y="90491"/>
                    </a:cubicBezTo>
                    <a:lnTo>
                      <a:pt x="726220" y="98475"/>
                    </a:lnTo>
                    <a:cubicBezTo>
                      <a:pt x="857570" y="168420"/>
                      <a:pt x="943072" y="301661"/>
                      <a:pt x="951925" y="450209"/>
                    </a:cubicBezTo>
                    <a:lnTo>
                      <a:pt x="951925" y="451852"/>
                    </a:lnTo>
                    <a:lnTo>
                      <a:pt x="951925" y="495767"/>
                    </a:lnTo>
                    <a:lnTo>
                      <a:pt x="1017627" y="495767"/>
                    </a:lnTo>
                    <a:cubicBezTo>
                      <a:pt x="1032038" y="495767"/>
                      <a:pt x="1043720" y="507449"/>
                      <a:pt x="1043720" y="521860"/>
                    </a:cubicBezTo>
                    <a:cubicBezTo>
                      <a:pt x="1043720" y="529066"/>
                      <a:pt x="1040800" y="535589"/>
                      <a:pt x="1036078" y="540311"/>
                    </a:cubicBezTo>
                    <a:lnTo>
                      <a:pt x="1019988" y="546975"/>
                    </a:lnTo>
                    <a:lnTo>
                      <a:pt x="23732" y="546975"/>
                    </a:lnTo>
                    <a:lnTo>
                      <a:pt x="7642" y="540311"/>
                    </a:lnTo>
                    <a:cubicBezTo>
                      <a:pt x="2921" y="535589"/>
                      <a:pt x="0" y="529066"/>
                      <a:pt x="0" y="521860"/>
                    </a:cubicBezTo>
                    <a:cubicBezTo>
                      <a:pt x="0" y="507449"/>
                      <a:pt x="11682" y="495767"/>
                      <a:pt x="26093" y="495767"/>
                    </a:cubicBezTo>
                    <a:lnTo>
                      <a:pt x="93387" y="495767"/>
                    </a:lnTo>
                    <a:lnTo>
                      <a:pt x="93387" y="451931"/>
                    </a:lnTo>
                    <a:lnTo>
                      <a:pt x="93387" y="450287"/>
                    </a:lnTo>
                    <a:cubicBezTo>
                      <a:pt x="102232" y="301737"/>
                      <a:pt x="187734" y="168490"/>
                      <a:pt x="319091" y="98553"/>
                    </a:cubicBezTo>
                    <a:lnTo>
                      <a:pt x="332581" y="91326"/>
                    </a:lnTo>
                    <a:cubicBezTo>
                      <a:pt x="346886" y="37550"/>
                      <a:pt x="395528" y="91"/>
                      <a:pt x="45117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259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1197" name="Freihandform 76">
              <a:extLst>
                <a:ext uri="{FF2B5EF4-FFF2-40B4-BE49-F238E27FC236}">
                  <a16:creationId xmlns:a16="http://schemas.microsoft.com/office/drawing/2014/main" id="{054C17C2-BE70-8405-9363-0B9702812E67}"/>
                </a:ext>
              </a:extLst>
            </p:cNvPr>
            <p:cNvSpPr/>
            <p:nvPr/>
          </p:nvSpPr>
          <p:spPr>
            <a:xfrm>
              <a:off x="10932476" y="5284118"/>
              <a:ext cx="237761" cy="351127"/>
            </a:xfrm>
            <a:custGeom>
              <a:avLst/>
              <a:gdLst>
                <a:gd name="connsiteX0" fmla="*/ 362901 w 1080000"/>
                <a:gd name="connsiteY0" fmla="*/ 735472 h 1594954"/>
                <a:gd name="connsiteX1" fmla="*/ 363219 w 1080000"/>
                <a:gd name="connsiteY1" fmla="*/ 735472 h 1594954"/>
                <a:gd name="connsiteX2" fmla="*/ 399872 w 1080000"/>
                <a:gd name="connsiteY2" fmla="*/ 755367 h 1594954"/>
                <a:gd name="connsiteX3" fmla="*/ 540000 w 1080000"/>
                <a:gd name="connsiteY3" fmla="*/ 783657 h 1594954"/>
                <a:gd name="connsiteX4" fmla="*/ 680129 w 1080000"/>
                <a:gd name="connsiteY4" fmla="*/ 755367 h 1594954"/>
                <a:gd name="connsiteX5" fmla="*/ 716782 w 1080000"/>
                <a:gd name="connsiteY5" fmla="*/ 735472 h 1594954"/>
                <a:gd name="connsiteX6" fmla="*/ 717099 w 1080000"/>
                <a:gd name="connsiteY6" fmla="*/ 735472 h 1594954"/>
                <a:gd name="connsiteX7" fmla="*/ 1080000 w 1080000"/>
                <a:gd name="connsiteY7" fmla="*/ 936327 h 1594954"/>
                <a:gd name="connsiteX8" fmla="*/ 1080000 w 1080000"/>
                <a:gd name="connsiteY8" fmla="*/ 1396511 h 1594954"/>
                <a:gd name="connsiteX9" fmla="*/ 0 w 1080000"/>
                <a:gd name="connsiteY9" fmla="*/ 1396511 h 1594954"/>
                <a:gd name="connsiteX10" fmla="*/ 0 w 1080000"/>
                <a:gd name="connsiteY10" fmla="*/ 936327 h 1594954"/>
                <a:gd name="connsiteX11" fmla="*/ 362901 w 1080000"/>
                <a:gd name="connsiteY11" fmla="*/ 735472 h 1594954"/>
                <a:gd name="connsiteX12" fmla="*/ 540000 w 1080000"/>
                <a:gd name="connsiteY12" fmla="*/ 0 h 1594954"/>
                <a:gd name="connsiteX13" fmla="*/ 900000 w 1080000"/>
                <a:gd name="connsiteY13" fmla="*/ 360000 h 1594954"/>
                <a:gd name="connsiteX14" fmla="*/ 540000 w 1080000"/>
                <a:gd name="connsiteY14" fmla="*/ 720000 h 1594954"/>
                <a:gd name="connsiteX15" fmla="*/ 180000 w 1080000"/>
                <a:gd name="connsiteY15" fmla="*/ 360000 h 1594954"/>
                <a:gd name="connsiteX16" fmla="*/ 540000 w 1080000"/>
                <a:gd name="connsiteY16" fmla="*/ 0 h 159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80000" h="1594954">
                  <a:moveTo>
                    <a:pt x="362901" y="735472"/>
                  </a:moveTo>
                  <a:lnTo>
                    <a:pt x="363219" y="735472"/>
                  </a:lnTo>
                  <a:lnTo>
                    <a:pt x="399872" y="755367"/>
                  </a:lnTo>
                  <a:cubicBezTo>
                    <a:pt x="442942" y="773584"/>
                    <a:pt x="490295" y="783657"/>
                    <a:pt x="540000" y="783657"/>
                  </a:cubicBezTo>
                  <a:cubicBezTo>
                    <a:pt x="589706" y="783657"/>
                    <a:pt x="637059" y="773584"/>
                    <a:pt x="680129" y="755367"/>
                  </a:cubicBezTo>
                  <a:lnTo>
                    <a:pt x="716782" y="735472"/>
                  </a:lnTo>
                  <a:lnTo>
                    <a:pt x="717099" y="735472"/>
                  </a:lnTo>
                  <a:cubicBezTo>
                    <a:pt x="917524" y="735472"/>
                    <a:pt x="1080000" y="825398"/>
                    <a:pt x="1080000" y="936327"/>
                  </a:cubicBezTo>
                  <a:lnTo>
                    <a:pt x="1080000" y="1396511"/>
                  </a:lnTo>
                  <a:cubicBezTo>
                    <a:pt x="691917" y="1681653"/>
                    <a:pt x="253274" y="1639722"/>
                    <a:pt x="0" y="1396511"/>
                  </a:cubicBezTo>
                  <a:lnTo>
                    <a:pt x="0" y="936327"/>
                  </a:lnTo>
                  <a:cubicBezTo>
                    <a:pt x="0" y="825398"/>
                    <a:pt x="162477" y="735472"/>
                    <a:pt x="362901" y="735472"/>
                  </a:cubicBezTo>
                  <a:close/>
                  <a:moveTo>
                    <a:pt x="540000" y="0"/>
                  </a:moveTo>
                  <a:cubicBezTo>
                    <a:pt x="738823" y="0"/>
                    <a:pt x="900000" y="161177"/>
                    <a:pt x="900000" y="360000"/>
                  </a:cubicBezTo>
                  <a:cubicBezTo>
                    <a:pt x="900000" y="558823"/>
                    <a:pt x="738823" y="720000"/>
                    <a:pt x="540000" y="720000"/>
                  </a:cubicBezTo>
                  <a:cubicBezTo>
                    <a:pt x="341177" y="720000"/>
                    <a:pt x="180000" y="558823"/>
                    <a:pt x="180000" y="360000"/>
                  </a:cubicBezTo>
                  <a:cubicBezTo>
                    <a:pt x="180000" y="161177"/>
                    <a:pt x="341177" y="0"/>
                    <a:pt x="540000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rIns="144000" rtlCol="0" anchor="ctr">
              <a:noAutofit/>
            </a:bodyPr>
            <a:lstStyle/>
            <a:p>
              <a:pPr algn="ctr"/>
              <a:endParaRPr lang="de-DE" err="1">
                <a:solidFill>
                  <a:prstClr val="white"/>
                </a:solidFill>
              </a:endParaRPr>
            </a:p>
          </p:txBody>
        </p:sp>
        <p:sp>
          <p:nvSpPr>
            <p:cNvPr id="1199" name="Freihandform 78">
              <a:extLst>
                <a:ext uri="{FF2B5EF4-FFF2-40B4-BE49-F238E27FC236}">
                  <a16:creationId xmlns:a16="http://schemas.microsoft.com/office/drawing/2014/main" id="{2EF8683D-6EAD-6039-0EB0-85AED2A47088}"/>
                </a:ext>
              </a:extLst>
            </p:cNvPr>
            <p:cNvSpPr/>
            <p:nvPr/>
          </p:nvSpPr>
          <p:spPr>
            <a:xfrm>
              <a:off x="10569334" y="5194539"/>
              <a:ext cx="337719" cy="498747"/>
            </a:xfrm>
            <a:custGeom>
              <a:avLst/>
              <a:gdLst>
                <a:gd name="connsiteX0" fmla="*/ 362901 w 1080000"/>
                <a:gd name="connsiteY0" fmla="*/ 735472 h 1594954"/>
                <a:gd name="connsiteX1" fmla="*/ 363219 w 1080000"/>
                <a:gd name="connsiteY1" fmla="*/ 735472 h 1594954"/>
                <a:gd name="connsiteX2" fmla="*/ 399872 w 1080000"/>
                <a:gd name="connsiteY2" fmla="*/ 755367 h 1594954"/>
                <a:gd name="connsiteX3" fmla="*/ 540000 w 1080000"/>
                <a:gd name="connsiteY3" fmla="*/ 783657 h 1594954"/>
                <a:gd name="connsiteX4" fmla="*/ 680129 w 1080000"/>
                <a:gd name="connsiteY4" fmla="*/ 755367 h 1594954"/>
                <a:gd name="connsiteX5" fmla="*/ 716782 w 1080000"/>
                <a:gd name="connsiteY5" fmla="*/ 735472 h 1594954"/>
                <a:gd name="connsiteX6" fmla="*/ 717099 w 1080000"/>
                <a:gd name="connsiteY6" fmla="*/ 735472 h 1594954"/>
                <a:gd name="connsiteX7" fmla="*/ 1080000 w 1080000"/>
                <a:gd name="connsiteY7" fmla="*/ 936327 h 1594954"/>
                <a:gd name="connsiteX8" fmla="*/ 1080000 w 1080000"/>
                <a:gd name="connsiteY8" fmla="*/ 1396511 h 1594954"/>
                <a:gd name="connsiteX9" fmla="*/ 0 w 1080000"/>
                <a:gd name="connsiteY9" fmla="*/ 1396511 h 1594954"/>
                <a:gd name="connsiteX10" fmla="*/ 0 w 1080000"/>
                <a:gd name="connsiteY10" fmla="*/ 936327 h 1594954"/>
                <a:gd name="connsiteX11" fmla="*/ 362901 w 1080000"/>
                <a:gd name="connsiteY11" fmla="*/ 735472 h 1594954"/>
                <a:gd name="connsiteX12" fmla="*/ 540000 w 1080000"/>
                <a:gd name="connsiteY12" fmla="*/ 0 h 1594954"/>
                <a:gd name="connsiteX13" fmla="*/ 900000 w 1080000"/>
                <a:gd name="connsiteY13" fmla="*/ 360000 h 1594954"/>
                <a:gd name="connsiteX14" fmla="*/ 540000 w 1080000"/>
                <a:gd name="connsiteY14" fmla="*/ 720000 h 1594954"/>
                <a:gd name="connsiteX15" fmla="*/ 180000 w 1080000"/>
                <a:gd name="connsiteY15" fmla="*/ 360000 h 1594954"/>
                <a:gd name="connsiteX16" fmla="*/ 540000 w 1080000"/>
                <a:gd name="connsiteY16" fmla="*/ 0 h 159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80000" h="1594954">
                  <a:moveTo>
                    <a:pt x="362901" y="735472"/>
                  </a:moveTo>
                  <a:lnTo>
                    <a:pt x="363219" y="735472"/>
                  </a:lnTo>
                  <a:lnTo>
                    <a:pt x="399872" y="755367"/>
                  </a:lnTo>
                  <a:cubicBezTo>
                    <a:pt x="442942" y="773584"/>
                    <a:pt x="490295" y="783657"/>
                    <a:pt x="540000" y="783657"/>
                  </a:cubicBezTo>
                  <a:cubicBezTo>
                    <a:pt x="589706" y="783657"/>
                    <a:pt x="637059" y="773584"/>
                    <a:pt x="680129" y="755367"/>
                  </a:cubicBezTo>
                  <a:lnTo>
                    <a:pt x="716782" y="735472"/>
                  </a:lnTo>
                  <a:lnTo>
                    <a:pt x="717099" y="735472"/>
                  </a:lnTo>
                  <a:cubicBezTo>
                    <a:pt x="917524" y="735472"/>
                    <a:pt x="1080000" y="825398"/>
                    <a:pt x="1080000" y="936327"/>
                  </a:cubicBezTo>
                  <a:lnTo>
                    <a:pt x="1080000" y="1396511"/>
                  </a:lnTo>
                  <a:cubicBezTo>
                    <a:pt x="691917" y="1681653"/>
                    <a:pt x="253274" y="1639722"/>
                    <a:pt x="0" y="1396511"/>
                  </a:cubicBezTo>
                  <a:lnTo>
                    <a:pt x="0" y="936327"/>
                  </a:lnTo>
                  <a:cubicBezTo>
                    <a:pt x="0" y="825398"/>
                    <a:pt x="162477" y="735472"/>
                    <a:pt x="362901" y="735472"/>
                  </a:cubicBezTo>
                  <a:close/>
                  <a:moveTo>
                    <a:pt x="540000" y="0"/>
                  </a:moveTo>
                  <a:cubicBezTo>
                    <a:pt x="738823" y="0"/>
                    <a:pt x="900000" y="161177"/>
                    <a:pt x="900000" y="360000"/>
                  </a:cubicBezTo>
                  <a:cubicBezTo>
                    <a:pt x="900000" y="558823"/>
                    <a:pt x="738823" y="720000"/>
                    <a:pt x="540000" y="720000"/>
                  </a:cubicBezTo>
                  <a:cubicBezTo>
                    <a:pt x="341177" y="720000"/>
                    <a:pt x="180000" y="558823"/>
                    <a:pt x="180000" y="360000"/>
                  </a:cubicBezTo>
                  <a:cubicBezTo>
                    <a:pt x="180000" y="161177"/>
                    <a:pt x="341177" y="0"/>
                    <a:pt x="540000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rIns="144000" rtlCol="0" anchor="ctr">
              <a:noAutofit/>
            </a:bodyPr>
            <a:lstStyle/>
            <a:p>
              <a:pPr algn="ctr"/>
              <a:endParaRPr lang="de-DE" err="1">
                <a:solidFill>
                  <a:prstClr val="white"/>
                </a:solidFill>
              </a:endParaRPr>
            </a:p>
          </p:txBody>
        </p:sp>
        <p:grpSp>
          <p:nvGrpSpPr>
            <p:cNvPr id="1200" name="Gruppieren 1199">
              <a:extLst>
                <a:ext uri="{FF2B5EF4-FFF2-40B4-BE49-F238E27FC236}">
                  <a16:creationId xmlns:a16="http://schemas.microsoft.com/office/drawing/2014/main" id="{501382A0-1D10-2064-915E-C903A81F9913}"/>
                </a:ext>
              </a:extLst>
            </p:cNvPr>
            <p:cNvGrpSpPr/>
            <p:nvPr/>
          </p:nvGrpSpPr>
          <p:grpSpPr>
            <a:xfrm>
              <a:off x="10578855" y="5140596"/>
              <a:ext cx="316554" cy="165894"/>
              <a:chOff x="8472264" y="2426134"/>
              <a:chExt cx="1043720" cy="546975"/>
            </a:xfrm>
          </p:grpSpPr>
          <p:sp>
            <p:nvSpPr>
              <p:cNvPr id="1207" name="Freihandform: Form 1206">
                <a:extLst>
                  <a:ext uri="{FF2B5EF4-FFF2-40B4-BE49-F238E27FC236}">
                    <a16:creationId xmlns:a16="http://schemas.microsoft.com/office/drawing/2014/main" id="{08CD0B3B-C334-3EBC-6109-7904B90E3426}"/>
                  </a:ext>
                </a:extLst>
              </p:cNvPr>
              <p:cNvSpPr/>
              <p:nvPr/>
            </p:nvSpPr>
            <p:spPr>
              <a:xfrm>
                <a:off x="8599858" y="2459698"/>
                <a:ext cx="792088" cy="470008"/>
              </a:xfrm>
              <a:custGeom>
                <a:avLst/>
                <a:gdLst>
                  <a:gd name="connsiteX0" fmla="*/ 385091 w 792088"/>
                  <a:gd name="connsiteY0" fmla="*/ 0 h 470008"/>
                  <a:gd name="connsiteX1" fmla="*/ 550964 w 792088"/>
                  <a:gd name="connsiteY1" fmla="*/ 62507 h 470008"/>
                  <a:gd name="connsiteX2" fmla="*/ 553975 w 792088"/>
                  <a:gd name="connsiteY2" fmla="*/ 70987 h 470008"/>
                  <a:gd name="connsiteX3" fmla="*/ 566515 w 792088"/>
                  <a:gd name="connsiteY3" fmla="*/ 72426 h 470008"/>
                  <a:gd name="connsiteX4" fmla="*/ 676463 w 792088"/>
                  <a:gd name="connsiteY4" fmla="*/ 166728 h 470008"/>
                  <a:gd name="connsiteX5" fmla="*/ 698346 w 792088"/>
                  <a:gd name="connsiteY5" fmla="*/ 166728 h 470008"/>
                  <a:gd name="connsiteX6" fmla="*/ 722213 w 792088"/>
                  <a:gd name="connsiteY6" fmla="*/ 190595 h 470008"/>
                  <a:gd name="connsiteX7" fmla="*/ 722213 w 792088"/>
                  <a:gd name="connsiteY7" fmla="*/ 242649 h 470008"/>
                  <a:gd name="connsiteX8" fmla="*/ 744181 w 792088"/>
                  <a:gd name="connsiteY8" fmla="*/ 242649 h 470008"/>
                  <a:gd name="connsiteX9" fmla="*/ 768048 w 792088"/>
                  <a:gd name="connsiteY9" fmla="*/ 266516 h 470008"/>
                  <a:gd name="connsiteX10" fmla="*/ 768048 w 792088"/>
                  <a:gd name="connsiteY10" fmla="*/ 326806 h 470008"/>
                  <a:gd name="connsiteX11" fmla="*/ 768221 w 792088"/>
                  <a:gd name="connsiteY11" fmla="*/ 326806 h 470008"/>
                  <a:gd name="connsiteX12" fmla="*/ 792088 w 792088"/>
                  <a:gd name="connsiteY12" fmla="*/ 350673 h 470008"/>
                  <a:gd name="connsiteX13" fmla="*/ 792088 w 792088"/>
                  <a:gd name="connsiteY13" fmla="*/ 446141 h 470008"/>
                  <a:gd name="connsiteX14" fmla="*/ 768221 w 792088"/>
                  <a:gd name="connsiteY14" fmla="*/ 470008 h 470008"/>
                  <a:gd name="connsiteX15" fmla="*/ 23867 w 792088"/>
                  <a:gd name="connsiteY15" fmla="*/ 470008 h 470008"/>
                  <a:gd name="connsiteX16" fmla="*/ 0 w 792088"/>
                  <a:gd name="connsiteY16" fmla="*/ 446141 h 470008"/>
                  <a:gd name="connsiteX17" fmla="*/ 0 w 792088"/>
                  <a:gd name="connsiteY17" fmla="*/ 350673 h 470008"/>
                  <a:gd name="connsiteX18" fmla="*/ 6991 w 792088"/>
                  <a:gd name="connsiteY18" fmla="*/ 333797 h 470008"/>
                  <a:gd name="connsiteX19" fmla="*/ 12048 w 792088"/>
                  <a:gd name="connsiteY19" fmla="*/ 331702 h 470008"/>
                  <a:gd name="connsiteX20" fmla="*/ 12048 w 792088"/>
                  <a:gd name="connsiteY20" fmla="*/ 266516 h 470008"/>
                  <a:gd name="connsiteX21" fmla="*/ 35915 w 792088"/>
                  <a:gd name="connsiteY21" fmla="*/ 242649 h 470008"/>
                  <a:gd name="connsiteX22" fmla="*/ 74140 w 792088"/>
                  <a:gd name="connsiteY22" fmla="*/ 242649 h 470008"/>
                  <a:gd name="connsiteX23" fmla="*/ 74140 w 792088"/>
                  <a:gd name="connsiteY23" fmla="*/ 190595 h 470008"/>
                  <a:gd name="connsiteX24" fmla="*/ 98007 w 792088"/>
                  <a:gd name="connsiteY24" fmla="*/ 166728 h 470008"/>
                  <a:gd name="connsiteX25" fmla="*/ 119626 w 792088"/>
                  <a:gd name="connsiteY25" fmla="*/ 166728 h 470008"/>
                  <a:gd name="connsiteX26" fmla="*/ 172353 w 792088"/>
                  <a:gd name="connsiteY26" fmla="*/ 94359 h 470008"/>
                  <a:gd name="connsiteX27" fmla="*/ 213509 w 792088"/>
                  <a:gd name="connsiteY27" fmla="*/ 78584 h 470008"/>
                  <a:gd name="connsiteX28" fmla="*/ 219218 w 792088"/>
                  <a:gd name="connsiteY28" fmla="*/ 62507 h 470008"/>
                  <a:gd name="connsiteX29" fmla="*/ 385091 w 792088"/>
                  <a:gd name="connsiteY29" fmla="*/ 0 h 470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792088" h="470008">
                    <a:moveTo>
                      <a:pt x="385091" y="0"/>
                    </a:moveTo>
                    <a:cubicBezTo>
                      <a:pt x="459658" y="0"/>
                      <a:pt x="523635" y="25774"/>
                      <a:pt x="550964" y="62507"/>
                    </a:cubicBezTo>
                    <a:lnTo>
                      <a:pt x="553975" y="70987"/>
                    </a:lnTo>
                    <a:lnTo>
                      <a:pt x="566515" y="72426"/>
                    </a:lnTo>
                    <a:cubicBezTo>
                      <a:pt x="631127" y="87963"/>
                      <a:pt x="676463" y="124335"/>
                      <a:pt x="676463" y="166728"/>
                    </a:cubicBezTo>
                    <a:lnTo>
                      <a:pt x="698346" y="166728"/>
                    </a:lnTo>
                    <a:cubicBezTo>
                      <a:pt x="711527" y="166728"/>
                      <a:pt x="722213" y="177414"/>
                      <a:pt x="722213" y="190595"/>
                    </a:cubicBezTo>
                    <a:lnTo>
                      <a:pt x="722213" y="242649"/>
                    </a:lnTo>
                    <a:lnTo>
                      <a:pt x="744181" y="242649"/>
                    </a:lnTo>
                    <a:cubicBezTo>
                      <a:pt x="757362" y="242649"/>
                      <a:pt x="768048" y="253335"/>
                      <a:pt x="768048" y="266516"/>
                    </a:cubicBezTo>
                    <a:lnTo>
                      <a:pt x="768048" y="326806"/>
                    </a:lnTo>
                    <a:lnTo>
                      <a:pt x="768221" y="326806"/>
                    </a:lnTo>
                    <a:cubicBezTo>
                      <a:pt x="781402" y="326806"/>
                      <a:pt x="792088" y="337492"/>
                      <a:pt x="792088" y="350673"/>
                    </a:cubicBezTo>
                    <a:lnTo>
                      <a:pt x="792088" y="446141"/>
                    </a:lnTo>
                    <a:cubicBezTo>
                      <a:pt x="792088" y="459322"/>
                      <a:pt x="781402" y="470008"/>
                      <a:pt x="768221" y="470008"/>
                    </a:cubicBezTo>
                    <a:lnTo>
                      <a:pt x="23867" y="470008"/>
                    </a:lnTo>
                    <a:cubicBezTo>
                      <a:pt x="10686" y="470008"/>
                      <a:pt x="0" y="459322"/>
                      <a:pt x="0" y="446141"/>
                    </a:cubicBezTo>
                    <a:lnTo>
                      <a:pt x="0" y="350673"/>
                    </a:lnTo>
                    <a:cubicBezTo>
                      <a:pt x="0" y="344083"/>
                      <a:pt x="2672" y="338116"/>
                      <a:pt x="6991" y="333797"/>
                    </a:cubicBezTo>
                    <a:lnTo>
                      <a:pt x="12048" y="331702"/>
                    </a:lnTo>
                    <a:lnTo>
                      <a:pt x="12048" y="266516"/>
                    </a:lnTo>
                    <a:cubicBezTo>
                      <a:pt x="12048" y="253335"/>
                      <a:pt x="22734" y="242649"/>
                      <a:pt x="35915" y="242649"/>
                    </a:cubicBezTo>
                    <a:lnTo>
                      <a:pt x="74140" y="242649"/>
                    </a:lnTo>
                    <a:lnTo>
                      <a:pt x="74140" y="190595"/>
                    </a:lnTo>
                    <a:cubicBezTo>
                      <a:pt x="74140" y="177414"/>
                      <a:pt x="84826" y="166728"/>
                      <a:pt x="98007" y="166728"/>
                    </a:cubicBezTo>
                    <a:lnTo>
                      <a:pt x="119626" y="166728"/>
                    </a:lnTo>
                    <a:cubicBezTo>
                      <a:pt x="119626" y="138466"/>
                      <a:pt x="139776" y="112880"/>
                      <a:pt x="172353" y="94359"/>
                    </a:cubicBezTo>
                    <a:lnTo>
                      <a:pt x="213509" y="78584"/>
                    </a:lnTo>
                    <a:lnTo>
                      <a:pt x="219218" y="62507"/>
                    </a:lnTo>
                    <a:cubicBezTo>
                      <a:pt x="246547" y="25774"/>
                      <a:pt x="310525" y="0"/>
                      <a:pt x="385091" y="0"/>
                    </a:cubicBezTo>
                    <a:close/>
                  </a:path>
                </a:pathLst>
              </a:cu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1208" name="Freihandform: Form 1207" descr="Bauarbeiter Silhouette">
                <a:extLst>
                  <a:ext uri="{FF2B5EF4-FFF2-40B4-BE49-F238E27FC236}">
                    <a16:creationId xmlns:a16="http://schemas.microsoft.com/office/drawing/2014/main" id="{C8930318-4A9D-4A3B-BC22-12F61F4DFA19}"/>
                  </a:ext>
                </a:extLst>
              </p:cNvPr>
              <p:cNvSpPr/>
              <p:nvPr/>
            </p:nvSpPr>
            <p:spPr>
              <a:xfrm>
                <a:off x="8472264" y="2426134"/>
                <a:ext cx="1043720" cy="546975"/>
              </a:xfrm>
              <a:custGeom>
                <a:avLst/>
                <a:gdLst>
                  <a:gd name="connsiteX0" fmla="*/ 451174 w 1043720"/>
                  <a:gd name="connsiteY0" fmla="*/ 52186 h 546975"/>
                  <a:gd name="connsiteX1" fmla="*/ 382732 w 1043720"/>
                  <a:gd name="connsiteY1" fmla="*/ 105755 h 546975"/>
                  <a:gd name="connsiteX2" fmla="*/ 427612 w 1043720"/>
                  <a:gd name="connsiteY2" fmla="*/ 282587 h 546975"/>
                  <a:gd name="connsiteX3" fmla="*/ 410991 w 1043720"/>
                  <a:gd name="connsiteY3" fmla="*/ 311550 h 546975"/>
                  <a:gd name="connsiteX4" fmla="*/ 409660 w 1043720"/>
                  <a:gd name="connsiteY4" fmla="*/ 311864 h 546975"/>
                  <a:gd name="connsiteX5" fmla="*/ 403215 w 1043720"/>
                  <a:gd name="connsiteY5" fmla="*/ 311864 h 546975"/>
                  <a:gd name="connsiteX6" fmla="*/ 380306 w 1043720"/>
                  <a:gd name="connsiteY6" fmla="*/ 293912 h 546975"/>
                  <a:gd name="connsiteX7" fmla="*/ 343775 w 1043720"/>
                  <a:gd name="connsiteY7" fmla="*/ 144451 h 546975"/>
                  <a:gd name="connsiteX8" fmla="*/ 145469 w 1043720"/>
                  <a:gd name="connsiteY8" fmla="*/ 453496 h 546975"/>
                  <a:gd name="connsiteX9" fmla="*/ 145469 w 1043720"/>
                  <a:gd name="connsiteY9" fmla="*/ 495767 h 546975"/>
                  <a:gd name="connsiteX10" fmla="*/ 899765 w 1043720"/>
                  <a:gd name="connsiteY10" fmla="*/ 495767 h 546975"/>
                  <a:gd name="connsiteX11" fmla="*/ 899765 w 1043720"/>
                  <a:gd name="connsiteY11" fmla="*/ 453496 h 546975"/>
                  <a:gd name="connsiteX12" fmla="*/ 701458 w 1043720"/>
                  <a:gd name="connsiteY12" fmla="*/ 144451 h 546975"/>
                  <a:gd name="connsiteX13" fmla="*/ 663676 w 1043720"/>
                  <a:gd name="connsiteY13" fmla="*/ 293912 h 546975"/>
                  <a:gd name="connsiteX14" fmla="*/ 640766 w 1043720"/>
                  <a:gd name="connsiteY14" fmla="*/ 311864 h 546975"/>
                  <a:gd name="connsiteX15" fmla="*/ 634399 w 1043720"/>
                  <a:gd name="connsiteY15" fmla="*/ 311864 h 546975"/>
                  <a:gd name="connsiteX16" fmla="*/ 634156 w 1043720"/>
                  <a:gd name="connsiteY16" fmla="*/ 311814 h 546975"/>
                  <a:gd name="connsiteX17" fmla="*/ 616134 w 1043720"/>
                  <a:gd name="connsiteY17" fmla="*/ 283918 h 546975"/>
                  <a:gd name="connsiteX18" fmla="*/ 616447 w 1043720"/>
                  <a:gd name="connsiteY18" fmla="*/ 282587 h 546975"/>
                  <a:gd name="connsiteX19" fmla="*/ 661301 w 1043720"/>
                  <a:gd name="connsiteY19" fmla="*/ 105781 h 546975"/>
                  <a:gd name="connsiteX20" fmla="*/ 592833 w 1043720"/>
                  <a:gd name="connsiteY20" fmla="*/ 52186 h 546975"/>
                  <a:gd name="connsiteX21" fmla="*/ 451174 w 1043720"/>
                  <a:gd name="connsiteY21" fmla="*/ 0 h 546975"/>
                  <a:gd name="connsiteX22" fmla="*/ 593016 w 1043720"/>
                  <a:gd name="connsiteY22" fmla="*/ 0 h 546975"/>
                  <a:gd name="connsiteX23" fmla="*/ 711347 w 1043720"/>
                  <a:gd name="connsiteY23" fmla="*/ 90491 h 546975"/>
                  <a:gd name="connsiteX24" fmla="*/ 726220 w 1043720"/>
                  <a:gd name="connsiteY24" fmla="*/ 98475 h 546975"/>
                  <a:gd name="connsiteX25" fmla="*/ 951925 w 1043720"/>
                  <a:gd name="connsiteY25" fmla="*/ 450209 h 546975"/>
                  <a:gd name="connsiteX26" fmla="*/ 951925 w 1043720"/>
                  <a:gd name="connsiteY26" fmla="*/ 451852 h 546975"/>
                  <a:gd name="connsiteX27" fmla="*/ 951925 w 1043720"/>
                  <a:gd name="connsiteY27" fmla="*/ 495767 h 546975"/>
                  <a:gd name="connsiteX28" fmla="*/ 1017627 w 1043720"/>
                  <a:gd name="connsiteY28" fmla="*/ 495767 h 546975"/>
                  <a:gd name="connsiteX29" fmla="*/ 1043720 w 1043720"/>
                  <a:gd name="connsiteY29" fmla="*/ 521860 h 546975"/>
                  <a:gd name="connsiteX30" fmla="*/ 1036078 w 1043720"/>
                  <a:gd name="connsiteY30" fmla="*/ 540311 h 546975"/>
                  <a:gd name="connsiteX31" fmla="*/ 1019988 w 1043720"/>
                  <a:gd name="connsiteY31" fmla="*/ 546975 h 546975"/>
                  <a:gd name="connsiteX32" fmla="*/ 23732 w 1043720"/>
                  <a:gd name="connsiteY32" fmla="*/ 546975 h 546975"/>
                  <a:gd name="connsiteX33" fmla="*/ 7642 w 1043720"/>
                  <a:gd name="connsiteY33" fmla="*/ 540311 h 546975"/>
                  <a:gd name="connsiteX34" fmla="*/ 0 w 1043720"/>
                  <a:gd name="connsiteY34" fmla="*/ 521860 h 546975"/>
                  <a:gd name="connsiteX35" fmla="*/ 26093 w 1043720"/>
                  <a:gd name="connsiteY35" fmla="*/ 495767 h 546975"/>
                  <a:gd name="connsiteX36" fmla="*/ 93387 w 1043720"/>
                  <a:gd name="connsiteY36" fmla="*/ 495767 h 546975"/>
                  <a:gd name="connsiteX37" fmla="*/ 93387 w 1043720"/>
                  <a:gd name="connsiteY37" fmla="*/ 451931 h 546975"/>
                  <a:gd name="connsiteX38" fmla="*/ 93387 w 1043720"/>
                  <a:gd name="connsiteY38" fmla="*/ 450287 h 546975"/>
                  <a:gd name="connsiteX39" fmla="*/ 319091 w 1043720"/>
                  <a:gd name="connsiteY39" fmla="*/ 98553 h 546975"/>
                  <a:gd name="connsiteX40" fmla="*/ 332581 w 1043720"/>
                  <a:gd name="connsiteY40" fmla="*/ 91326 h 546975"/>
                  <a:gd name="connsiteX41" fmla="*/ 451174 w 1043720"/>
                  <a:gd name="connsiteY41" fmla="*/ 0 h 546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3720" h="546975">
                    <a:moveTo>
                      <a:pt x="451174" y="52186"/>
                    </a:moveTo>
                    <a:cubicBezTo>
                      <a:pt x="418798" y="52297"/>
                      <a:pt x="390617" y="74352"/>
                      <a:pt x="382732" y="105755"/>
                    </a:cubicBezTo>
                    <a:lnTo>
                      <a:pt x="427612" y="282587"/>
                    </a:lnTo>
                    <a:cubicBezTo>
                      <a:pt x="431004" y="295172"/>
                      <a:pt x="423568" y="308130"/>
                      <a:pt x="410991" y="311550"/>
                    </a:cubicBezTo>
                    <a:cubicBezTo>
                      <a:pt x="410552" y="311678"/>
                      <a:pt x="410109" y="311785"/>
                      <a:pt x="409660" y="311864"/>
                    </a:cubicBezTo>
                    <a:lnTo>
                      <a:pt x="403215" y="311864"/>
                    </a:lnTo>
                    <a:cubicBezTo>
                      <a:pt x="392345" y="311903"/>
                      <a:pt x="382865" y="304477"/>
                      <a:pt x="380306" y="293912"/>
                    </a:cubicBezTo>
                    <a:lnTo>
                      <a:pt x="343775" y="144451"/>
                    </a:lnTo>
                    <a:cubicBezTo>
                      <a:pt x="228679" y="206242"/>
                      <a:pt x="153683" y="323120"/>
                      <a:pt x="145469" y="453496"/>
                    </a:cubicBezTo>
                    <a:lnTo>
                      <a:pt x="145469" y="495767"/>
                    </a:lnTo>
                    <a:lnTo>
                      <a:pt x="899765" y="495767"/>
                    </a:lnTo>
                    <a:lnTo>
                      <a:pt x="899765" y="453496"/>
                    </a:lnTo>
                    <a:cubicBezTo>
                      <a:pt x="891551" y="323120"/>
                      <a:pt x="816554" y="206242"/>
                      <a:pt x="701458" y="144451"/>
                    </a:cubicBezTo>
                    <a:lnTo>
                      <a:pt x="663676" y="293912"/>
                    </a:lnTo>
                    <a:cubicBezTo>
                      <a:pt x="661116" y="304477"/>
                      <a:pt x="651636" y="311903"/>
                      <a:pt x="640766" y="311864"/>
                    </a:cubicBezTo>
                    <a:lnTo>
                      <a:pt x="634399" y="311864"/>
                    </a:lnTo>
                    <a:cubicBezTo>
                      <a:pt x="634318" y="311848"/>
                      <a:pt x="634237" y="311830"/>
                      <a:pt x="634156" y="311814"/>
                    </a:cubicBezTo>
                    <a:cubicBezTo>
                      <a:pt x="621478" y="309087"/>
                      <a:pt x="613407" y="296599"/>
                      <a:pt x="616134" y="283918"/>
                    </a:cubicBezTo>
                    <a:cubicBezTo>
                      <a:pt x="616212" y="283469"/>
                      <a:pt x="616319" y="283026"/>
                      <a:pt x="616447" y="282587"/>
                    </a:cubicBezTo>
                    <a:lnTo>
                      <a:pt x="661301" y="105781"/>
                    </a:lnTo>
                    <a:cubicBezTo>
                      <a:pt x="653416" y="74364"/>
                      <a:pt x="625225" y="52297"/>
                      <a:pt x="592833" y="52186"/>
                    </a:cubicBezTo>
                    <a:close/>
                    <a:moveTo>
                      <a:pt x="451174" y="0"/>
                    </a:moveTo>
                    <a:lnTo>
                      <a:pt x="593016" y="0"/>
                    </a:lnTo>
                    <a:cubicBezTo>
                      <a:pt x="648330" y="98"/>
                      <a:pt x="696761" y="37135"/>
                      <a:pt x="711347" y="90491"/>
                    </a:cubicBezTo>
                    <a:lnTo>
                      <a:pt x="726220" y="98475"/>
                    </a:lnTo>
                    <a:cubicBezTo>
                      <a:pt x="857570" y="168420"/>
                      <a:pt x="943072" y="301661"/>
                      <a:pt x="951925" y="450209"/>
                    </a:cubicBezTo>
                    <a:lnTo>
                      <a:pt x="951925" y="451852"/>
                    </a:lnTo>
                    <a:lnTo>
                      <a:pt x="951925" y="495767"/>
                    </a:lnTo>
                    <a:lnTo>
                      <a:pt x="1017627" y="495767"/>
                    </a:lnTo>
                    <a:cubicBezTo>
                      <a:pt x="1032038" y="495767"/>
                      <a:pt x="1043720" y="507449"/>
                      <a:pt x="1043720" y="521860"/>
                    </a:cubicBezTo>
                    <a:cubicBezTo>
                      <a:pt x="1043720" y="529066"/>
                      <a:pt x="1040800" y="535589"/>
                      <a:pt x="1036078" y="540311"/>
                    </a:cubicBezTo>
                    <a:lnTo>
                      <a:pt x="1019988" y="546975"/>
                    </a:lnTo>
                    <a:lnTo>
                      <a:pt x="23732" y="546975"/>
                    </a:lnTo>
                    <a:lnTo>
                      <a:pt x="7642" y="540311"/>
                    </a:lnTo>
                    <a:cubicBezTo>
                      <a:pt x="2921" y="535589"/>
                      <a:pt x="0" y="529066"/>
                      <a:pt x="0" y="521860"/>
                    </a:cubicBezTo>
                    <a:cubicBezTo>
                      <a:pt x="0" y="507449"/>
                      <a:pt x="11682" y="495767"/>
                      <a:pt x="26093" y="495767"/>
                    </a:cubicBezTo>
                    <a:lnTo>
                      <a:pt x="93387" y="495767"/>
                    </a:lnTo>
                    <a:lnTo>
                      <a:pt x="93387" y="451931"/>
                    </a:lnTo>
                    <a:lnTo>
                      <a:pt x="93387" y="450287"/>
                    </a:lnTo>
                    <a:cubicBezTo>
                      <a:pt x="102232" y="301737"/>
                      <a:pt x="187734" y="168490"/>
                      <a:pt x="319091" y="98553"/>
                    </a:cubicBezTo>
                    <a:lnTo>
                      <a:pt x="332581" y="91326"/>
                    </a:lnTo>
                    <a:cubicBezTo>
                      <a:pt x="346886" y="37550"/>
                      <a:pt x="395528" y="91"/>
                      <a:pt x="45117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259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01" name="Gruppieren 1200">
              <a:extLst>
                <a:ext uri="{FF2B5EF4-FFF2-40B4-BE49-F238E27FC236}">
                  <a16:creationId xmlns:a16="http://schemas.microsoft.com/office/drawing/2014/main" id="{A54466CB-1422-4C89-EA9F-493D86E9EC47}"/>
                </a:ext>
              </a:extLst>
            </p:cNvPr>
            <p:cNvGrpSpPr/>
            <p:nvPr/>
          </p:nvGrpSpPr>
          <p:grpSpPr>
            <a:xfrm>
              <a:off x="10935599" y="5232261"/>
              <a:ext cx="233046" cy="122131"/>
              <a:chOff x="9650969" y="2426134"/>
              <a:chExt cx="1043720" cy="546975"/>
            </a:xfrm>
          </p:grpSpPr>
          <p:sp>
            <p:nvSpPr>
              <p:cNvPr id="1205" name="Freihandform: Form 1204">
                <a:extLst>
                  <a:ext uri="{FF2B5EF4-FFF2-40B4-BE49-F238E27FC236}">
                    <a16:creationId xmlns:a16="http://schemas.microsoft.com/office/drawing/2014/main" id="{963F78FB-3EDE-C7F5-1D49-B1F8B947EA8A}"/>
                  </a:ext>
                </a:extLst>
              </p:cNvPr>
              <p:cNvSpPr/>
              <p:nvPr/>
            </p:nvSpPr>
            <p:spPr>
              <a:xfrm>
                <a:off x="9778563" y="2459698"/>
                <a:ext cx="792088" cy="470008"/>
              </a:xfrm>
              <a:custGeom>
                <a:avLst/>
                <a:gdLst>
                  <a:gd name="connsiteX0" fmla="*/ 385091 w 792088"/>
                  <a:gd name="connsiteY0" fmla="*/ 0 h 470008"/>
                  <a:gd name="connsiteX1" fmla="*/ 550964 w 792088"/>
                  <a:gd name="connsiteY1" fmla="*/ 62507 h 470008"/>
                  <a:gd name="connsiteX2" fmla="*/ 553975 w 792088"/>
                  <a:gd name="connsiteY2" fmla="*/ 70987 h 470008"/>
                  <a:gd name="connsiteX3" fmla="*/ 566515 w 792088"/>
                  <a:gd name="connsiteY3" fmla="*/ 72426 h 470008"/>
                  <a:gd name="connsiteX4" fmla="*/ 676463 w 792088"/>
                  <a:gd name="connsiteY4" fmla="*/ 166728 h 470008"/>
                  <a:gd name="connsiteX5" fmla="*/ 698346 w 792088"/>
                  <a:gd name="connsiteY5" fmla="*/ 166728 h 470008"/>
                  <a:gd name="connsiteX6" fmla="*/ 722213 w 792088"/>
                  <a:gd name="connsiteY6" fmla="*/ 190595 h 470008"/>
                  <a:gd name="connsiteX7" fmla="*/ 722213 w 792088"/>
                  <a:gd name="connsiteY7" fmla="*/ 242649 h 470008"/>
                  <a:gd name="connsiteX8" fmla="*/ 744181 w 792088"/>
                  <a:gd name="connsiteY8" fmla="*/ 242649 h 470008"/>
                  <a:gd name="connsiteX9" fmla="*/ 768048 w 792088"/>
                  <a:gd name="connsiteY9" fmla="*/ 266516 h 470008"/>
                  <a:gd name="connsiteX10" fmla="*/ 768048 w 792088"/>
                  <a:gd name="connsiteY10" fmla="*/ 326806 h 470008"/>
                  <a:gd name="connsiteX11" fmla="*/ 768221 w 792088"/>
                  <a:gd name="connsiteY11" fmla="*/ 326806 h 470008"/>
                  <a:gd name="connsiteX12" fmla="*/ 792088 w 792088"/>
                  <a:gd name="connsiteY12" fmla="*/ 350673 h 470008"/>
                  <a:gd name="connsiteX13" fmla="*/ 792088 w 792088"/>
                  <a:gd name="connsiteY13" fmla="*/ 446141 h 470008"/>
                  <a:gd name="connsiteX14" fmla="*/ 768221 w 792088"/>
                  <a:gd name="connsiteY14" fmla="*/ 470008 h 470008"/>
                  <a:gd name="connsiteX15" fmla="*/ 23867 w 792088"/>
                  <a:gd name="connsiteY15" fmla="*/ 470008 h 470008"/>
                  <a:gd name="connsiteX16" fmla="*/ 0 w 792088"/>
                  <a:gd name="connsiteY16" fmla="*/ 446141 h 470008"/>
                  <a:gd name="connsiteX17" fmla="*/ 0 w 792088"/>
                  <a:gd name="connsiteY17" fmla="*/ 350673 h 470008"/>
                  <a:gd name="connsiteX18" fmla="*/ 6991 w 792088"/>
                  <a:gd name="connsiteY18" fmla="*/ 333797 h 470008"/>
                  <a:gd name="connsiteX19" fmla="*/ 12048 w 792088"/>
                  <a:gd name="connsiteY19" fmla="*/ 331702 h 470008"/>
                  <a:gd name="connsiteX20" fmla="*/ 12048 w 792088"/>
                  <a:gd name="connsiteY20" fmla="*/ 266516 h 470008"/>
                  <a:gd name="connsiteX21" fmla="*/ 35915 w 792088"/>
                  <a:gd name="connsiteY21" fmla="*/ 242649 h 470008"/>
                  <a:gd name="connsiteX22" fmla="*/ 74140 w 792088"/>
                  <a:gd name="connsiteY22" fmla="*/ 242649 h 470008"/>
                  <a:gd name="connsiteX23" fmla="*/ 74140 w 792088"/>
                  <a:gd name="connsiteY23" fmla="*/ 190595 h 470008"/>
                  <a:gd name="connsiteX24" fmla="*/ 98007 w 792088"/>
                  <a:gd name="connsiteY24" fmla="*/ 166728 h 470008"/>
                  <a:gd name="connsiteX25" fmla="*/ 119626 w 792088"/>
                  <a:gd name="connsiteY25" fmla="*/ 166728 h 470008"/>
                  <a:gd name="connsiteX26" fmla="*/ 172353 w 792088"/>
                  <a:gd name="connsiteY26" fmla="*/ 94359 h 470008"/>
                  <a:gd name="connsiteX27" fmla="*/ 213509 w 792088"/>
                  <a:gd name="connsiteY27" fmla="*/ 78584 h 470008"/>
                  <a:gd name="connsiteX28" fmla="*/ 219218 w 792088"/>
                  <a:gd name="connsiteY28" fmla="*/ 62507 h 470008"/>
                  <a:gd name="connsiteX29" fmla="*/ 385091 w 792088"/>
                  <a:gd name="connsiteY29" fmla="*/ 0 h 470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792088" h="470008">
                    <a:moveTo>
                      <a:pt x="385091" y="0"/>
                    </a:moveTo>
                    <a:cubicBezTo>
                      <a:pt x="459658" y="0"/>
                      <a:pt x="523635" y="25774"/>
                      <a:pt x="550964" y="62507"/>
                    </a:cubicBezTo>
                    <a:lnTo>
                      <a:pt x="553975" y="70987"/>
                    </a:lnTo>
                    <a:lnTo>
                      <a:pt x="566515" y="72426"/>
                    </a:lnTo>
                    <a:cubicBezTo>
                      <a:pt x="631127" y="87963"/>
                      <a:pt x="676463" y="124335"/>
                      <a:pt x="676463" y="166728"/>
                    </a:cubicBezTo>
                    <a:lnTo>
                      <a:pt x="698346" y="166728"/>
                    </a:lnTo>
                    <a:cubicBezTo>
                      <a:pt x="711527" y="166728"/>
                      <a:pt x="722213" y="177414"/>
                      <a:pt x="722213" y="190595"/>
                    </a:cubicBezTo>
                    <a:lnTo>
                      <a:pt x="722213" y="242649"/>
                    </a:lnTo>
                    <a:lnTo>
                      <a:pt x="744181" y="242649"/>
                    </a:lnTo>
                    <a:cubicBezTo>
                      <a:pt x="757362" y="242649"/>
                      <a:pt x="768048" y="253335"/>
                      <a:pt x="768048" y="266516"/>
                    </a:cubicBezTo>
                    <a:lnTo>
                      <a:pt x="768048" y="326806"/>
                    </a:lnTo>
                    <a:lnTo>
                      <a:pt x="768221" y="326806"/>
                    </a:lnTo>
                    <a:cubicBezTo>
                      <a:pt x="781402" y="326806"/>
                      <a:pt x="792088" y="337492"/>
                      <a:pt x="792088" y="350673"/>
                    </a:cubicBezTo>
                    <a:lnTo>
                      <a:pt x="792088" y="446141"/>
                    </a:lnTo>
                    <a:cubicBezTo>
                      <a:pt x="792088" y="459322"/>
                      <a:pt x="781402" y="470008"/>
                      <a:pt x="768221" y="470008"/>
                    </a:cubicBezTo>
                    <a:lnTo>
                      <a:pt x="23867" y="470008"/>
                    </a:lnTo>
                    <a:cubicBezTo>
                      <a:pt x="10686" y="470008"/>
                      <a:pt x="0" y="459322"/>
                      <a:pt x="0" y="446141"/>
                    </a:cubicBezTo>
                    <a:lnTo>
                      <a:pt x="0" y="350673"/>
                    </a:lnTo>
                    <a:cubicBezTo>
                      <a:pt x="0" y="344083"/>
                      <a:pt x="2672" y="338116"/>
                      <a:pt x="6991" y="333797"/>
                    </a:cubicBezTo>
                    <a:lnTo>
                      <a:pt x="12048" y="331702"/>
                    </a:lnTo>
                    <a:lnTo>
                      <a:pt x="12048" y="266516"/>
                    </a:lnTo>
                    <a:cubicBezTo>
                      <a:pt x="12048" y="253335"/>
                      <a:pt x="22734" y="242649"/>
                      <a:pt x="35915" y="242649"/>
                    </a:cubicBezTo>
                    <a:lnTo>
                      <a:pt x="74140" y="242649"/>
                    </a:lnTo>
                    <a:lnTo>
                      <a:pt x="74140" y="190595"/>
                    </a:lnTo>
                    <a:cubicBezTo>
                      <a:pt x="74140" y="177414"/>
                      <a:pt x="84826" y="166728"/>
                      <a:pt x="98007" y="166728"/>
                    </a:cubicBezTo>
                    <a:lnTo>
                      <a:pt x="119626" y="166728"/>
                    </a:lnTo>
                    <a:cubicBezTo>
                      <a:pt x="119626" y="138466"/>
                      <a:pt x="139776" y="112880"/>
                      <a:pt x="172353" y="94359"/>
                    </a:cubicBezTo>
                    <a:lnTo>
                      <a:pt x="213509" y="78584"/>
                    </a:lnTo>
                    <a:lnTo>
                      <a:pt x="219218" y="62507"/>
                    </a:lnTo>
                    <a:cubicBezTo>
                      <a:pt x="246547" y="25774"/>
                      <a:pt x="310525" y="0"/>
                      <a:pt x="385091" y="0"/>
                    </a:cubicBezTo>
                    <a:close/>
                  </a:path>
                </a:pathLst>
              </a:custGeom>
              <a:solidFill>
                <a:srgbClr val="FFFF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1206" name="Freihandform: Form 1205" descr="Bauarbeiter Silhouette">
                <a:extLst>
                  <a:ext uri="{FF2B5EF4-FFF2-40B4-BE49-F238E27FC236}">
                    <a16:creationId xmlns:a16="http://schemas.microsoft.com/office/drawing/2014/main" id="{586FA349-17D1-30E9-2526-ABD6A9E8EEB0}"/>
                  </a:ext>
                </a:extLst>
              </p:cNvPr>
              <p:cNvSpPr/>
              <p:nvPr/>
            </p:nvSpPr>
            <p:spPr>
              <a:xfrm>
                <a:off x="9650969" y="2426134"/>
                <a:ext cx="1043720" cy="546975"/>
              </a:xfrm>
              <a:custGeom>
                <a:avLst/>
                <a:gdLst>
                  <a:gd name="connsiteX0" fmla="*/ 451174 w 1043720"/>
                  <a:gd name="connsiteY0" fmla="*/ 52186 h 546975"/>
                  <a:gd name="connsiteX1" fmla="*/ 382732 w 1043720"/>
                  <a:gd name="connsiteY1" fmla="*/ 105755 h 546975"/>
                  <a:gd name="connsiteX2" fmla="*/ 427612 w 1043720"/>
                  <a:gd name="connsiteY2" fmla="*/ 282587 h 546975"/>
                  <a:gd name="connsiteX3" fmla="*/ 410991 w 1043720"/>
                  <a:gd name="connsiteY3" fmla="*/ 311550 h 546975"/>
                  <a:gd name="connsiteX4" fmla="*/ 409660 w 1043720"/>
                  <a:gd name="connsiteY4" fmla="*/ 311864 h 546975"/>
                  <a:gd name="connsiteX5" fmla="*/ 403215 w 1043720"/>
                  <a:gd name="connsiteY5" fmla="*/ 311864 h 546975"/>
                  <a:gd name="connsiteX6" fmla="*/ 380306 w 1043720"/>
                  <a:gd name="connsiteY6" fmla="*/ 293912 h 546975"/>
                  <a:gd name="connsiteX7" fmla="*/ 343775 w 1043720"/>
                  <a:gd name="connsiteY7" fmla="*/ 144451 h 546975"/>
                  <a:gd name="connsiteX8" fmla="*/ 145469 w 1043720"/>
                  <a:gd name="connsiteY8" fmla="*/ 453496 h 546975"/>
                  <a:gd name="connsiteX9" fmla="*/ 145469 w 1043720"/>
                  <a:gd name="connsiteY9" fmla="*/ 495767 h 546975"/>
                  <a:gd name="connsiteX10" fmla="*/ 899765 w 1043720"/>
                  <a:gd name="connsiteY10" fmla="*/ 495767 h 546975"/>
                  <a:gd name="connsiteX11" fmla="*/ 899765 w 1043720"/>
                  <a:gd name="connsiteY11" fmla="*/ 453496 h 546975"/>
                  <a:gd name="connsiteX12" fmla="*/ 701458 w 1043720"/>
                  <a:gd name="connsiteY12" fmla="*/ 144451 h 546975"/>
                  <a:gd name="connsiteX13" fmla="*/ 663676 w 1043720"/>
                  <a:gd name="connsiteY13" fmla="*/ 293912 h 546975"/>
                  <a:gd name="connsiteX14" fmla="*/ 640766 w 1043720"/>
                  <a:gd name="connsiteY14" fmla="*/ 311864 h 546975"/>
                  <a:gd name="connsiteX15" fmla="*/ 634399 w 1043720"/>
                  <a:gd name="connsiteY15" fmla="*/ 311864 h 546975"/>
                  <a:gd name="connsiteX16" fmla="*/ 634156 w 1043720"/>
                  <a:gd name="connsiteY16" fmla="*/ 311814 h 546975"/>
                  <a:gd name="connsiteX17" fmla="*/ 616134 w 1043720"/>
                  <a:gd name="connsiteY17" fmla="*/ 283918 h 546975"/>
                  <a:gd name="connsiteX18" fmla="*/ 616447 w 1043720"/>
                  <a:gd name="connsiteY18" fmla="*/ 282587 h 546975"/>
                  <a:gd name="connsiteX19" fmla="*/ 661301 w 1043720"/>
                  <a:gd name="connsiteY19" fmla="*/ 105781 h 546975"/>
                  <a:gd name="connsiteX20" fmla="*/ 592833 w 1043720"/>
                  <a:gd name="connsiteY20" fmla="*/ 52186 h 546975"/>
                  <a:gd name="connsiteX21" fmla="*/ 451174 w 1043720"/>
                  <a:gd name="connsiteY21" fmla="*/ 0 h 546975"/>
                  <a:gd name="connsiteX22" fmla="*/ 593016 w 1043720"/>
                  <a:gd name="connsiteY22" fmla="*/ 0 h 546975"/>
                  <a:gd name="connsiteX23" fmla="*/ 711347 w 1043720"/>
                  <a:gd name="connsiteY23" fmla="*/ 90491 h 546975"/>
                  <a:gd name="connsiteX24" fmla="*/ 726220 w 1043720"/>
                  <a:gd name="connsiteY24" fmla="*/ 98475 h 546975"/>
                  <a:gd name="connsiteX25" fmla="*/ 951925 w 1043720"/>
                  <a:gd name="connsiteY25" fmla="*/ 450209 h 546975"/>
                  <a:gd name="connsiteX26" fmla="*/ 951925 w 1043720"/>
                  <a:gd name="connsiteY26" fmla="*/ 451852 h 546975"/>
                  <a:gd name="connsiteX27" fmla="*/ 951925 w 1043720"/>
                  <a:gd name="connsiteY27" fmla="*/ 495767 h 546975"/>
                  <a:gd name="connsiteX28" fmla="*/ 1017627 w 1043720"/>
                  <a:gd name="connsiteY28" fmla="*/ 495767 h 546975"/>
                  <a:gd name="connsiteX29" fmla="*/ 1043720 w 1043720"/>
                  <a:gd name="connsiteY29" fmla="*/ 521860 h 546975"/>
                  <a:gd name="connsiteX30" fmla="*/ 1036078 w 1043720"/>
                  <a:gd name="connsiteY30" fmla="*/ 540311 h 546975"/>
                  <a:gd name="connsiteX31" fmla="*/ 1019988 w 1043720"/>
                  <a:gd name="connsiteY31" fmla="*/ 546975 h 546975"/>
                  <a:gd name="connsiteX32" fmla="*/ 23732 w 1043720"/>
                  <a:gd name="connsiteY32" fmla="*/ 546975 h 546975"/>
                  <a:gd name="connsiteX33" fmla="*/ 7642 w 1043720"/>
                  <a:gd name="connsiteY33" fmla="*/ 540311 h 546975"/>
                  <a:gd name="connsiteX34" fmla="*/ 0 w 1043720"/>
                  <a:gd name="connsiteY34" fmla="*/ 521860 h 546975"/>
                  <a:gd name="connsiteX35" fmla="*/ 26093 w 1043720"/>
                  <a:gd name="connsiteY35" fmla="*/ 495767 h 546975"/>
                  <a:gd name="connsiteX36" fmla="*/ 93387 w 1043720"/>
                  <a:gd name="connsiteY36" fmla="*/ 495767 h 546975"/>
                  <a:gd name="connsiteX37" fmla="*/ 93387 w 1043720"/>
                  <a:gd name="connsiteY37" fmla="*/ 451931 h 546975"/>
                  <a:gd name="connsiteX38" fmla="*/ 93387 w 1043720"/>
                  <a:gd name="connsiteY38" fmla="*/ 450287 h 546975"/>
                  <a:gd name="connsiteX39" fmla="*/ 319091 w 1043720"/>
                  <a:gd name="connsiteY39" fmla="*/ 98553 h 546975"/>
                  <a:gd name="connsiteX40" fmla="*/ 332581 w 1043720"/>
                  <a:gd name="connsiteY40" fmla="*/ 91326 h 546975"/>
                  <a:gd name="connsiteX41" fmla="*/ 451174 w 1043720"/>
                  <a:gd name="connsiteY41" fmla="*/ 0 h 546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3720" h="546975">
                    <a:moveTo>
                      <a:pt x="451174" y="52186"/>
                    </a:moveTo>
                    <a:cubicBezTo>
                      <a:pt x="418798" y="52297"/>
                      <a:pt x="390617" y="74352"/>
                      <a:pt x="382732" y="105755"/>
                    </a:cubicBezTo>
                    <a:lnTo>
                      <a:pt x="427612" y="282587"/>
                    </a:lnTo>
                    <a:cubicBezTo>
                      <a:pt x="431004" y="295172"/>
                      <a:pt x="423568" y="308130"/>
                      <a:pt x="410991" y="311550"/>
                    </a:cubicBezTo>
                    <a:cubicBezTo>
                      <a:pt x="410552" y="311678"/>
                      <a:pt x="410109" y="311785"/>
                      <a:pt x="409660" y="311864"/>
                    </a:cubicBezTo>
                    <a:lnTo>
                      <a:pt x="403215" y="311864"/>
                    </a:lnTo>
                    <a:cubicBezTo>
                      <a:pt x="392345" y="311903"/>
                      <a:pt x="382865" y="304477"/>
                      <a:pt x="380306" y="293912"/>
                    </a:cubicBezTo>
                    <a:lnTo>
                      <a:pt x="343775" y="144451"/>
                    </a:lnTo>
                    <a:cubicBezTo>
                      <a:pt x="228679" y="206242"/>
                      <a:pt x="153683" y="323120"/>
                      <a:pt x="145469" y="453496"/>
                    </a:cubicBezTo>
                    <a:lnTo>
                      <a:pt x="145469" y="495767"/>
                    </a:lnTo>
                    <a:lnTo>
                      <a:pt x="899765" y="495767"/>
                    </a:lnTo>
                    <a:lnTo>
                      <a:pt x="899765" y="453496"/>
                    </a:lnTo>
                    <a:cubicBezTo>
                      <a:pt x="891551" y="323120"/>
                      <a:pt x="816554" y="206242"/>
                      <a:pt x="701458" y="144451"/>
                    </a:cubicBezTo>
                    <a:lnTo>
                      <a:pt x="663676" y="293912"/>
                    </a:lnTo>
                    <a:cubicBezTo>
                      <a:pt x="661116" y="304477"/>
                      <a:pt x="651636" y="311903"/>
                      <a:pt x="640766" y="311864"/>
                    </a:cubicBezTo>
                    <a:lnTo>
                      <a:pt x="634399" y="311864"/>
                    </a:lnTo>
                    <a:cubicBezTo>
                      <a:pt x="634318" y="311848"/>
                      <a:pt x="634237" y="311830"/>
                      <a:pt x="634156" y="311814"/>
                    </a:cubicBezTo>
                    <a:cubicBezTo>
                      <a:pt x="621478" y="309087"/>
                      <a:pt x="613407" y="296599"/>
                      <a:pt x="616134" y="283918"/>
                    </a:cubicBezTo>
                    <a:cubicBezTo>
                      <a:pt x="616212" y="283469"/>
                      <a:pt x="616319" y="283026"/>
                      <a:pt x="616447" y="282587"/>
                    </a:cubicBezTo>
                    <a:lnTo>
                      <a:pt x="661301" y="105781"/>
                    </a:lnTo>
                    <a:cubicBezTo>
                      <a:pt x="653416" y="74364"/>
                      <a:pt x="625225" y="52297"/>
                      <a:pt x="592833" y="52186"/>
                    </a:cubicBezTo>
                    <a:close/>
                    <a:moveTo>
                      <a:pt x="451174" y="0"/>
                    </a:moveTo>
                    <a:lnTo>
                      <a:pt x="593016" y="0"/>
                    </a:lnTo>
                    <a:cubicBezTo>
                      <a:pt x="648330" y="98"/>
                      <a:pt x="696761" y="37135"/>
                      <a:pt x="711347" y="90491"/>
                    </a:cubicBezTo>
                    <a:lnTo>
                      <a:pt x="726220" y="98475"/>
                    </a:lnTo>
                    <a:cubicBezTo>
                      <a:pt x="857570" y="168420"/>
                      <a:pt x="943072" y="301661"/>
                      <a:pt x="951925" y="450209"/>
                    </a:cubicBezTo>
                    <a:lnTo>
                      <a:pt x="951925" y="451852"/>
                    </a:lnTo>
                    <a:lnTo>
                      <a:pt x="951925" y="495767"/>
                    </a:lnTo>
                    <a:lnTo>
                      <a:pt x="1017627" y="495767"/>
                    </a:lnTo>
                    <a:cubicBezTo>
                      <a:pt x="1032038" y="495767"/>
                      <a:pt x="1043720" y="507449"/>
                      <a:pt x="1043720" y="521860"/>
                    </a:cubicBezTo>
                    <a:cubicBezTo>
                      <a:pt x="1043720" y="529066"/>
                      <a:pt x="1040800" y="535589"/>
                      <a:pt x="1036078" y="540311"/>
                    </a:cubicBezTo>
                    <a:lnTo>
                      <a:pt x="1019988" y="546975"/>
                    </a:lnTo>
                    <a:lnTo>
                      <a:pt x="23732" y="546975"/>
                    </a:lnTo>
                    <a:lnTo>
                      <a:pt x="7642" y="540311"/>
                    </a:lnTo>
                    <a:cubicBezTo>
                      <a:pt x="2921" y="535589"/>
                      <a:pt x="0" y="529066"/>
                      <a:pt x="0" y="521860"/>
                    </a:cubicBezTo>
                    <a:cubicBezTo>
                      <a:pt x="0" y="507449"/>
                      <a:pt x="11682" y="495767"/>
                      <a:pt x="26093" y="495767"/>
                    </a:cubicBezTo>
                    <a:lnTo>
                      <a:pt x="93387" y="495767"/>
                    </a:lnTo>
                    <a:lnTo>
                      <a:pt x="93387" y="451931"/>
                    </a:lnTo>
                    <a:lnTo>
                      <a:pt x="93387" y="450287"/>
                    </a:lnTo>
                    <a:cubicBezTo>
                      <a:pt x="102232" y="301737"/>
                      <a:pt x="187734" y="168490"/>
                      <a:pt x="319091" y="98553"/>
                    </a:cubicBezTo>
                    <a:lnTo>
                      <a:pt x="332581" y="91326"/>
                    </a:lnTo>
                    <a:cubicBezTo>
                      <a:pt x="346886" y="37550"/>
                      <a:pt x="395528" y="91"/>
                      <a:pt x="45117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259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10" name="Gruppieren 1209">
              <a:extLst>
                <a:ext uri="{FF2B5EF4-FFF2-40B4-BE49-F238E27FC236}">
                  <a16:creationId xmlns:a16="http://schemas.microsoft.com/office/drawing/2014/main" id="{F1D9C616-0E14-6803-4EBF-E222F244649F}"/>
                </a:ext>
              </a:extLst>
            </p:cNvPr>
            <p:cNvGrpSpPr/>
            <p:nvPr/>
          </p:nvGrpSpPr>
          <p:grpSpPr>
            <a:xfrm>
              <a:off x="11795297" y="5780610"/>
              <a:ext cx="237761" cy="402984"/>
              <a:chOff x="7668495" y="4750587"/>
              <a:chExt cx="237761" cy="402984"/>
            </a:xfrm>
          </p:grpSpPr>
          <p:sp>
            <p:nvSpPr>
              <p:cNvPr id="1211" name="Freihandform 76">
                <a:extLst>
                  <a:ext uri="{FF2B5EF4-FFF2-40B4-BE49-F238E27FC236}">
                    <a16:creationId xmlns:a16="http://schemas.microsoft.com/office/drawing/2014/main" id="{F041877C-C388-543F-390D-4FA4E6B2D0F3}"/>
                  </a:ext>
                </a:extLst>
              </p:cNvPr>
              <p:cNvSpPr/>
              <p:nvPr/>
            </p:nvSpPr>
            <p:spPr>
              <a:xfrm>
                <a:off x="7668495" y="4802444"/>
                <a:ext cx="237761" cy="351127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212" name="Gruppieren 1211">
                <a:extLst>
                  <a:ext uri="{FF2B5EF4-FFF2-40B4-BE49-F238E27FC236}">
                    <a16:creationId xmlns:a16="http://schemas.microsoft.com/office/drawing/2014/main" id="{EEB0A0EA-0F3E-ED4C-2C8F-95C289026957}"/>
                  </a:ext>
                </a:extLst>
              </p:cNvPr>
              <p:cNvGrpSpPr/>
              <p:nvPr/>
            </p:nvGrpSpPr>
            <p:grpSpPr>
              <a:xfrm>
                <a:off x="7671618" y="4750587"/>
                <a:ext cx="233046" cy="122131"/>
                <a:chOff x="9650969" y="2426134"/>
                <a:chExt cx="1043720" cy="546975"/>
              </a:xfrm>
            </p:grpSpPr>
            <p:sp>
              <p:nvSpPr>
                <p:cNvPr id="1213" name="Freihandform: Form 1212">
                  <a:extLst>
                    <a:ext uri="{FF2B5EF4-FFF2-40B4-BE49-F238E27FC236}">
                      <a16:creationId xmlns:a16="http://schemas.microsoft.com/office/drawing/2014/main" id="{71068C98-0159-73DA-5BE6-FE1076FEF6F8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214" name="Freihandform: Form 1213" descr="Bauarbeiter Silhouette">
                  <a:extLst>
                    <a:ext uri="{FF2B5EF4-FFF2-40B4-BE49-F238E27FC236}">
                      <a16:creationId xmlns:a16="http://schemas.microsoft.com/office/drawing/2014/main" id="{C3F493FD-F79F-E2A3-38D3-A8E3F51E2190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1215" name="Gruppieren 1214">
              <a:extLst>
                <a:ext uri="{FF2B5EF4-FFF2-40B4-BE49-F238E27FC236}">
                  <a16:creationId xmlns:a16="http://schemas.microsoft.com/office/drawing/2014/main" id="{3B08E177-59D7-79B8-82C5-B98BB26876DC}"/>
                </a:ext>
              </a:extLst>
            </p:cNvPr>
            <p:cNvGrpSpPr/>
            <p:nvPr/>
          </p:nvGrpSpPr>
          <p:grpSpPr>
            <a:xfrm>
              <a:off x="11543380" y="5950678"/>
              <a:ext cx="237761" cy="402984"/>
              <a:chOff x="7668495" y="4750587"/>
              <a:chExt cx="237761" cy="402984"/>
            </a:xfrm>
          </p:grpSpPr>
          <p:sp>
            <p:nvSpPr>
              <p:cNvPr id="1216" name="Freihandform 76">
                <a:extLst>
                  <a:ext uri="{FF2B5EF4-FFF2-40B4-BE49-F238E27FC236}">
                    <a16:creationId xmlns:a16="http://schemas.microsoft.com/office/drawing/2014/main" id="{FFDCF76B-8236-D47E-DE1F-88DBAF88E708}"/>
                  </a:ext>
                </a:extLst>
              </p:cNvPr>
              <p:cNvSpPr/>
              <p:nvPr/>
            </p:nvSpPr>
            <p:spPr>
              <a:xfrm>
                <a:off x="7668495" y="4802444"/>
                <a:ext cx="237761" cy="351127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217" name="Gruppieren 1216">
                <a:extLst>
                  <a:ext uri="{FF2B5EF4-FFF2-40B4-BE49-F238E27FC236}">
                    <a16:creationId xmlns:a16="http://schemas.microsoft.com/office/drawing/2014/main" id="{7170AF51-66E4-8FBB-215F-DE1EDBD82BC5}"/>
                  </a:ext>
                </a:extLst>
              </p:cNvPr>
              <p:cNvGrpSpPr/>
              <p:nvPr/>
            </p:nvGrpSpPr>
            <p:grpSpPr>
              <a:xfrm>
                <a:off x="7671618" y="4750587"/>
                <a:ext cx="233046" cy="122131"/>
                <a:chOff x="9650969" y="2426134"/>
                <a:chExt cx="1043720" cy="546975"/>
              </a:xfrm>
            </p:grpSpPr>
            <p:sp>
              <p:nvSpPr>
                <p:cNvPr id="1218" name="Freihandform: Form 1217">
                  <a:extLst>
                    <a:ext uri="{FF2B5EF4-FFF2-40B4-BE49-F238E27FC236}">
                      <a16:creationId xmlns:a16="http://schemas.microsoft.com/office/drawing/2014/main" id="{1EAA48DA-DC7E-0D89-83B2-BD1A43526B10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219" name="Freihandform: Form 1218" descr="Bauarbeiter Silhouette">
                  <a:extLst>
                    <a:ext uri="{FF2B5EF4-FFF2-40B4-BE49-F238E27FC236}">
                      <a16:creationId xmlns:a16="http://schemas.microsoft.com/office/drawing/2014/main" id="{37B26E8F-499F-5495-2B22-40558E08E82A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1220" name="Gruppieren 1219">
              <a:extLst>
                <a:ext uri="{FF2B5EF4-FFF2-40B4-BE49-F238E27FC236}">
                  <a16:creationId xmlns:a16="http://schemas.microsoft.com/office/drawing/2014/main" id="{717ED4F7-BC69-B7EB-5483-E12EEB817190}"/>
                </a:ext>
              </a:extLst>
            </p:cNvPr>
            <p:cNvGrpSpPr/>
            <p:nvPr/>
          </p:nvGrpSpPr>
          <p:grpSpPr>
            <a:xfrm>
              <a:off x="10345476" y="5720193"/>
              <a:ext cx="237761" cy="402984"/>
              <a:chOff x="7668495" y="4750587"/>
              <a:chExt cx="237761" cy="402984"/>
            </a:xfrm>
          </p:grpSpPr>
          <p:sp>
            <p:nvSpPr>
              <p:cNvPr id="1221" name="Freihandform 76">
                <a:extLst>
                  <a:ext uri="{FF2B5EF4-FFF2-40B4-BE49-F238E27FC236}">
                    <a16:creationId xmlns:a16="http://schemas.microsoft.com/office/drawing/2014/main" id="{77226DAC-D77C-0D76-03DB-D66B5362F4B7}"/>
                  </a:ext>
                </a:extLst>
              </p:cNvPr>
              <p:cNvSpPr/>
              <p:nvPr/>
            </p:nvSpPr>
            <p:spPr>
              <a:xfrm>
                <a:off x="7668495" y="4802444"/>
                <a:ext cx="237761" cy="351127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222" name="Gruppieren 1221">
                <a:extLst>
                  <a:ext uri="{FF2B5EF4-FFF2-40B4-BE49-F238E27FC236}">
                    <a16:creationId xmlns:a16="http://schemas.microsoft.com/office/drawing/2014/main" id="{64FEC930-4373-59AB-4A78-1EC0FF2EE895}"/>
                  </a:ext>
                </a:extLst>
              </p:cNvPr>
              <p:cNvGrpSpPr/>
              <p:nvPr/>
            </p:nvGrpSpPr>
            <p:grpSpPr>
              <a:xfrm>
                <a:off x="7671618" y="4750587"/>
                <a:ext cx="233046" cy="122131"/>
                <a:chOff x="9650969" y="2426134"/>
                <a:chExt cx="1043720" cy="546975"/>
              </a:xfrm>
            </p:grpSpPr>
            <p:sp>
              <p:nvSpPr>
                <p:cNvPr id="1223" name="Freihandform: Form 1222">
                  <a:extLst>
                    <a:ext uri="{FF2B5EF4-FFF2-40B4-BE49-F238E27FC236}">
                      <a16:creationId xmlns:a16="http://schemas.microsoft.com/office/drawing/2014/main" id="{F43E17B0-3EC8-126D-44E5-C68A1F32F033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224" name="Freihandform: Form 1223" descr="Bauarbeiter Silhouette">
                  <a:extLst>
                    <a:ext uri="{FF2B5EF4-FFF2-40B4-BE49-F238E27FC236}">
                      <a16:creationId xmlns:a16="http://schemas.microsoft.com/office/drawing/2014/main" id="{FE4C0470-2E2A-CBB5-3460-3FBAB4990E72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1080" name="Gruppieren 1079">
              <a:extLst>
                <a:ext uri="{FF2B5EF4-FFF2-40B4-BE49-F238E27FC236}">
                  <a16:creationId xmlns:a16="http://schemas.microsoft.com/office/drawing/2014/main" id="{54BD1B85-17B4-F8B6-1DC5-076017327470}"/>
                </a:ext>
              </a:extLst>
            </p:cNvPr>
            <p:cNvGrpSpPr/>
            <p:nvPr/>
          </p:nvGrpSpPr>
          <p:grpSpPr>
            <a:xfrm>
              <a:off x="10138333" y="5042945"/>
              <a:ext cx="375547" cy="614597"/>
              <a:chOff x="9870656" y="4436810"/>
              <a:chExt cx="1113505" cy="1822293"/>
            </a:xfrm>
          </p:grpSpPr>
          <p:sp>
            <p:nvSpPr>
              <p:cNvPr id="1082" name="Freihandform 78">
                <a:extLst>
                  <a:ext uri="{FF2B5EF4-FFF2-40B4-BE49-F238E27FC236}">
                    <a16:creationId xmlns:a16="http://schemas.microsoft.com/office/drawing/2014/main" id="{BC5758EF-8D99-87D9-2F0C-63A6E723F54B}"/>
                  </a:ext>
                </a:extLst>
              </p:cNvPr>
              <p:cNvSpPr/>
              <p:nvPr/>
            </p:nvSpPr>
            <p:spPr>
              <a:xfrm>
                <a:off x="9870656" y="4614668"/>
                <a:ext cx="1113505" cy="1644435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083" name="Gruppieren 1082">
                <a:extLst>
                  <a:ext uri="{FF2B5EF4-FFF2-40B4-BE49-F238E27FC236}">
                    <a16:creationId xmlns:a16="http://schemas.microsoft.com/office/drawing/2014/main" id="{2097586F-F649-E88A-9B5E-AABCB99C98F8}"/>
                  </a:ext>
                </a:extLst>
              </p:cNvPr>
              <p:cNvGrpSpPr/>
              <p:nvPr/>
            </p:nvGrpSpPr>
            <p:grpSpPr>
              <a:xfrm>
                <a:off x="9902047" y="4436810"/>
                <a:ext cx="1043720" cy="546975"/>
                <a:chOff x="8472264" y="2426134"/>
                <a:chExt cx="1043720" cy="546975"/>
              </a:xfrm>
            </p:grpSpPr>
            <p:sp>
              <p:nvSpPr>
                <p:cNvPr id="1084" name="Freihandform: Form 1083">
                  <a:extLst>
                    <a:ext uri="{FF2B5EF4-FFF2-40B4-BE49-F238E27FC236}">
                      <a16:creationId xmlns:a16="http://schemas.microsoft.com/office/drawing/2014/main" id="{9EABAEAA-ADF3-9467-3FA9-7CD33ED84AF5}"/>
                    </a:ext>
                  </a:extLst>
                </p:cNvPr>
                <p:cNvSpPr/>
                <p:nvPr/>
              </p:nvSpPr>
              <p:spPr>
                <a:xfrm>
                  <a:off x="8599858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95" name="Freihandform: Form 1094" descr="Bauarbeiter Silhouette">
                  <a:extLst>
                    <a:ext uri="{FF2B5EF4-FFF2-40B4-BE49-F238E27FC236}">
                      <a16:creationId xmlns:a16="http://schemas.microsoft.com/office/drawing/2014/main" id="{C077F769-5818-F019-F03C-01124F5B68D5}"/>
                    </a:ext>
                  </a:extLst>
                </p:cNvPr>
                <p:cNvSpPr/>
                <p:nvPr/>
              </p:nvSpPr>
              <p:spPr>
                <a:xfrm>
                  <a:off x="8472264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36" name="Title 5">
            <a:extLst>
              <a:ext uri="{FF2B5EF4-FFF2-40B4-BE49-F238E27FC236}">
                <a16:creationId xmlns:a16="http://schemas.microsoft.com/office/drawing/2014/main" id="{12006AB9-17A7-E733-D56B-C5D09E993DF4}"/>
              </a:ext>
            </a:extLst>
          </p:cNvPr>
          <p:cNvSpPr txBox="1">
            <a:spLocks/>
          </p:cNvSpPr>
          <p:nvPr/>
        </p:nvSpPr>
        <p:spPr>
          <a:xfrm>
            <a:off x="1606569" y="2067203"/>
            <a:ext cx="1502480" cy="369678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l" defTabSz="914362" rtl="0" eaLnBrk="1" latinLnBrk="0" hangingPunct="1">
              <a:spcBef>
                <a:spcPct val="0"/>
              </a:spcBef>
              <a:buNone/>
              <a:defRPr lang="en-US" sz="3200" b="1" i="0" kern="1200" dirty="0">
                <a:solidFill>
                  <a:schemeClr val="accent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de-DE" sz="2400">
                <a:solidFill>
                  <a:srgbClr val="7AB51D"/>
                </a:solidFill>
              </a:rPr>
              <a:t>Energie</a:t>
            </a:r>
            <a:endParaRPr lang="en-BR" sz="2400">
              <a:solidFill>
                <a:srgbClr val="7AB51D"/>
              </a:solidFill>
            </a:endParaRPr>
          </a:p>
        </p:txBody>
      </p:sp>
      <p:sp>
        <p:nvSpPr>
          <p:cNvPr id="37" name="Title 5">
            <a:extLst>
              <a:ext uri="{FF2B5EF4-FFF2-40B4-BE49-F238E27FC236}">
                <a16:creationId xmlns:a16="http://schemas.microsoft.com/office/drawing/2014/main" id="{1AA69C74-2EAE-61F2-A6F2-0445C4FF62CD}"/>
              </a:ext>
            </a:extLst>
          </p:cNvPr>
          <p:cNvSpPr txBox="1">
            <a:spLocks/>
          </p:cNvSpPr>
          <p:nvPr/>
        </p:nvSpPr>
        <p:spPr>
          <a:xfrm>
            <a:off x="8308895" y="1700328"/>
            <a:ext cx="3174750" cy="457796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l" defTabSz="914362" rtl="0" eaLnBrk="1" latinLnBrk="0" hangingPunct="1">
              <a:spcBef>
                <a:spcPct val="0"/>
              </a:spcBef>
              <a:buNone/>
              <a:defRPr lang="en-US" sz="3200" b="1" i="0" kern="1200" dirty="0">
                <a:solidFill>
                  <a:schemeClr val="accent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de-DE" sz="2400">
                <a:solidFill>
                  <a:srgbClr val="00A7DC"/>
                </a:solidFill>
              </a:rPr>
              <a:t>Dienstleistungen</a:t>
            </a:r>
            <a:endParaRPr lang="en-BR" sz="2400">
              <a:solidFill>
                <a:srgbClr val="00A7DC"/>
              </a:solidFill>
            </a:endParaRPr>
          </a:p>
        </p:txBody>
      </p:sp>
      <p:sp>
        <p:nvSpPr>
          <p:cNvPr id="38" name="Title 5">
            <a:extLst>
              <a:ext uri="{FF2B5EF4-FFF2-40B4-BE49-F238E27FC236}">
                <a16:creationId xmlns:a16="http://schemas.microsoft.com/office/drawing/2014/main" id="{C627A163-0FDE-195F-AA49-A8D2A569A340}"/>
              </a:ext>
            </a:extLst>
          </p:cNvPr>
          <p:cNvSpPr txBox="1">
            <a:spLocks/>
          </p:cNvSpPr>
          <p:nvPr/>
        </p:nvSpPr>
        <p:spPr>
          <a:xfrm>
            <a:off x="8992260" y="4384489"/>
            <a:ext cx="3042683" cy="457797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l" defTabSz="914362" rtl="0" eaLnBrk="1" latinLnBrk="0" hangingPunct="1">
              <a:spcBef>
                <a:spcPct val="0"/>
              </a:spcBef>
              <a:buNone/>
              <a:defRPr lang="en-US" sz="3200" b="1" i="0" kern="1200" dirty="0">
                <a:solidFill>
                  <a:schemeClr val="accent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de-DE" sz="2400">
                <a:solidFill>
                  <a:srgbClr val="FAAF00"/>
                </a:solidFill>
              </a:rPr>
              <a:t>Industrielösungen</a:t>
            </a:r>
            <a:endParaRPr lang="en-BR" sz="2400">
              <a:solidFill>
                <a:srgbClr val="FAAF00"/>
              </a:solidFill>
            </a:endParaRPr>
          </a:p>
        </p:txBody>
      </p:sp>
      <p:sp>
        <p:nvSpPr>
          <p:cNvPr id="40" name="Title 5">
            <a:extLst>
              <a:ext uri="{FF2B5EF4-FFF2-40B4-BE49-F238E27FC236}">
                <a16:creationId xmlns:a16="http://schemas.microsoft.com/office/drawing/2014/main" id="{43D0CE0E-41ED-18A0-E098-66F8D68DC062}"/>
              </a:ext>
            </a:extLst>
          </p:cNvPr>
          <p:cNvSpPr txBox="1">
            <a:spLocks/>
          </p:cNvSpPr>
          <p:nvPr/>
        </p:nvSpPr>
        <p:spPr>
          <a:xfrm>
            <a:off x="1843640" y="4167206"/>
            <a:ext cx="1895786" cy="931907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l" defTabSz="914362" rtl="0" eaLnBrk="1" latinLnBrk="0" hangingPunct="1">
              <a:spcBef>
                <a:spcPct val="0"/>
              </a:spcBef>
              <a:buNone/>
              <a:defRPr lang="en-US" sz="3200" b="1" i="0" kern="1200" dirty="0">
                <a:solidFill>
                  <a:schemeClr val="accent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de-DE" sz="2400">
                <a:solidFill>
                  <a:srgbClr val="7AB51D"/>
                </a:solidFill>
              </a:rPr>
              <a:t>Recycling &amp;</a:t>
            </a:r>
          </a:p>
          <a:p>
            <a:r>
              <a:rPr lang="de-DE" sz="2400">
                <a:solidFill>
                  <a:srgbClr val="7AB51D"/>
                </a:solidFill>
              </a:rPr>
              <a:t>Verwertung</a:t>
            </a:r>
            <a:endParaRPr lang="en-BR" sz="2400">
              <a:solidFill>
                <a:srgbClr val="7AB51D"/>
              </a:solidFill>
            </a:endParaRPr>
          </a:p>
        </p:txBody>
      </p:sp>
      <p:sp>
        <p:nvSpPr>
          <p:cNvPr id="46" name="Datumsplatzhalter 3">
            <a:extLst>
              <a:ext uri="{FF2B5EF4-FFF2-40B4-BE49-F238E27FC236}">
                <a16:creationId xmlns:a16="http://schemas.microsoft.com/office/drawing/2014/main" id="{4DE424F3-7CA8-AE66-C7AB-3A7D02E7D8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088000" y="6669000"/>
            <a:ext cx="900000" cy="180000"/>
          </a:xfrm>
        </p:spPr>
        <p:txBody>
          <a:bodyPr/>
          <a:lstStyle/>
          <a:p>
            <a:r>
              <a:rPr lang="de-DE"/>
              <a:t>21.11.2023</a:t>
            </a:r>
          </a:p>
        </p:txBody>
      </p:sp>
      <p:grpSp>
        <p:nvGrpSpPr>
          <p:cNvPr id="1100" name="Gruppieren 1099">
            <a:extLst>
              <a:ext uri="{FF2B5EF4-FFF2-40B4-BE49-F238E27FC236}">
                <a16:creationId xmlns:a16="http://schemas.microsoft.com/office/drawing/2014/main" id="{1CA9C1AF-81C8-20D7-E8BF-4A42F44D2EB4}"/>
              </a:ext>
            </a:extLst>
          </p:cNvPr>
          <p:cNvGrpSpPr/>
          <p:nvPr/>
        </p:nvGrpSpPr>
        <p:grpSpPr>
          <a:xfrm>
            <a:off x="7260558" y="2067322"/>
            <a:ext cx="1332000" cy="1332000"/>
            <a:chOff x="7280803" y="2063536"/>
            <a:chExt cx="1332000" cy="1332000"/>
          </a:xfrm>
        </p:grpSpPr>
        <p:sp>
          <p:nvSpPr>
            <p:cNvPr id="1101" name="Graphic 15">
              <a:extLst>
                <a:ext uri="{FF2B5EF4-FFF2-40B4-BE49-F238E27FC236}">
                  <a16:creationId xmlns:a16="http://schemas.microsoft.com/office/drawing/2014/main" id="{BC608622-9A7F-51A4-93CB-508B9ED891F9}"/>
                </a:ext>
              </a:extLst>
            </p:cNvPr>
            <p:cNvSpPr/>
            <p:nvPr/>
          </p:nvSpPr>
          <p:spPr>
            <a:xfrm>
              <a:off x="7280803" y="2063536"/>
              <a:ext cx="1332000" cy="1332000"/>
            </a:xfrm>
            <a:custGeom>
              <a:avLst/>
              <a:gdLst>
                <a:gd name="connsiteX0" fmla="*/ 749311 w 749310"/>
                <a:gd name="connsiteY0" fmla="*/ 214804 h 858552"/>
                <a:gd name="connsiteX1" fmla="*/ 374655 w 749310"/>
                <a:gd name="connsiteY1" fmla="*/ 0 h 858552"/>
                <a:gd name="connsiteX2" fmla="*/ 0 w 749310"/>
                <a:gd name="connsiteY2" fmla="*/ 214804 h 858552"/>
                <a:gd name="connsiteX3" fmla="*/ 0 w 749310"/>
                <a:gd name="connsiteY3" fmla="*/ 643748 h 858552"/>
                <a:gd name="connsiteX4" fmla="*/ 374655 w 749310"/>
                <a:gd name="connsiteY4" fmla="*/ 858552 h 858552"/>
                <a:gd name="connsiteX5" fmla="*/ 749311 w 749310"/>
                <a:gd name="connsiteY5" fmla="*/ 643748 h 858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9310" h="858552">
                  <a:moveTo>
                    <a:pt x="749311" y="214804"/>
                  </a:moveTo>
                  <a:lnTo>
                    <a:pt x="374655" y="0"/>
                  </a:lnTo>
                  <a:lnTo>
                    <a:pt x="0" y="214804"/>
                  </a:lnTo>
                  <a:lnTo>
                    <a:pt x="0" y="643748"/>
                  </a:lnTo>
                  <a:lnTo>
                    <a:pt x="374655" y="858552"/>
                  </a:lnTo>
                  <a:lnTo>
                    <a:pt x="749311" y="643748"/>
                  </a:lnTo>
                  <a:close/>
                </a:path>
              </a:pathLst>
            </a:custGeom>
            <a:solidFill>
              <a:schemeClr val="bg1"/>
            </a:solidFill>
            <a:ln w="6633" cap="flat">
              <a:solidFill>
                <a:srgbClr val="00A7D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BR"/>
            </a:p>
          </p:txBody>
        </p:sp>
        <p:grpSp>
          <p:nvGrpSpPr>
            <p:cNvPr id="1102" name="Gruppieren 1101">
              <a:extLst>
                <a:ext uri="{FF2B5EF4-FFF2-40B4-BE49-F238E27FC236}">
                  <a16:creationId xmlns:a16="http://schemas.microsoft.com/office/drawing/2014/main" id="{8CE9ADD1-9497-2351-8CC9-E9E15CE7A970}"/>
                </a:ext>
              </a:extLst>
            </p:cNvPr>
            <p:cNvGrpSpPr/>
            <p:nvPr/>
          </p:nvGrpSpPr>
          <p:grpSpPr>
            <a:xfrm>
              <a:off x="7508259" y="2339629"/>
              <a:ext cx="481438" cy="758299"/>
              <a:chOff x="4987674" y="4436810"/>
              <a:chExt cx="1110149" cy="1748563"/>
            </a:xfrm>
          </p:grpSpPr>
          <p:sp>
            <p:nvSpPr>
              <p:cNvPr id="1104" name="Freihandform: Form 1103">
                <a:extLst>
                  <a:ext uri="{FF2B5EF4-FFF2-40B4-BE49-F238E27FC236}">
                    <a16:creationId xmlns:a16="http://schemas.microsoft.com/office/drawing/2014/main" id="{AD9882DB-4102-5E3D-1DEC-11CB0024077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987674" y="5357005"/>
                <a:ext cx="1110149" cy="828368"/>
              </a:xfrm>
              <a:custGeom>
                <a:avLst/>
                <a:gdLst>
                  <a:gd name="connsiteX0" fmla="*/ 303228 w 1091862"/>
                  <a:gd name="connsiteY0" fmla="*/ 0 h 814723"/>
                  <a:gd name="connsiteX1" fmla="*/ 545931 w 1091862"/>
                  <a:gd name="connsiteY1" fmla="*/ 350583 h 814723"/>
                  <a:gd name="connsiteX2" fmla="*/ 788635 w 1091862"/>
                  <a:gd name="connsiteY2" fmla="*/ 0 h 814723"/>
                  <a:gd name="connsiteX3" fmla="*/ 798915 w 1091862"/>
                  <a:gd name="connsiteY3" fmla="*/ 540 h 814723"/>
                  <a:gd name="connsiteX4" fmla="*/ 1091862 w 1091862"/>
                  <a:gd name="connsiteY4" fmla="*/ 187833 h 814723"/>
                  <a:gd name="connsiteX5" fmla="*/ 1091862 w 1091862"/>
                  <a:gd name="connsiteY5" fmla="*/ 625842 h 814723"/>
                  <a:gd name="connsiteX6" fmla="*/ 0 w 1091862"/>
                  <a:gd name="connsiteY6" fmla="*/ 625842 h 814723"/>
                  <a:gd name="connsiteX7" fmla="*/ 0 w 1091862"/>
                  <a:gd name="connsiteY7" fmla="*/ 187833 h 814723"/>
                  <a:gd name="connsiteX8" fmla="*/ 292947 w 1091862"/>
                  <a:gd name="connsiteY8" fmla="*/ 540 h 814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1862" h="814723">
                    <a:moveTo>
                      <a:pt x="303228" y="0"/>
                    </a:moveTo>
                    <a:lnTo>
                      <a:pt x="545931" y="350583"/>
                    </a:lnTo>
                    <a:lnTo>
                      <a:pt x="788635" y="0"/>
                    </a:lnTo>
                    <a:lnTo>
                      <a:pt x="798915" y="540"/>
                    </a:lnTo>
                    <a:cubicBezTo>
                      <a:pt x="966100" y="18367"/>
                      <a:pt x="1091862" y="95447"/>
                      <a:pt x="1091862" y="187833"/>
                    </a:cubicBezTo>
                    <a:lnTo>
                      <a:pt x="1091862" y="625842"/>
                    </a:lnTo>
                    <a:cubicBezTo>
                      <a:pt x="699517" y="897245"/>
                      <a:pt x="256056" y="857334"/>
                      <a:pt x="0" y="625842"/>
                    </a:cubicBezTo>
                    <a:lnTo>
                      <a:pt x="0" y="187833"/>
                    </a:lnTo>
                    <a:cubicBezTo>
                      <a:pt x="0" y="95447"/>
                      <a:pt x="125762" y="18367"/>
                      <a:pt x="292947" y="540"/>
                    </a:cubicBez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rgbClr val="00A7D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sp>
            <p:nvSpPr>
              <p:cNvPr id="1105" name="Freihandform: Form 1104">
                <a:extLst>
                  <a:ext uri="{FF2B5EF4-FFF2-40B4-BE49-F238E27FC236}">
                    <a16:creationId xmlns:a16="http://schemas.microsoft.com/office/drawing/2014/main" id="{13345886-4A6C-2477-9356-CDBB9A5BCEAA}"/>
                  </a:ext>
                </a:extLst>
              </p:cNvPr>
              <p:cNvSpPr/>
              <p:nvPr/>
            </p:nvSpPr>
            <p:spPr>
              <a:xfrm>
                <a:off x="5175082" y="4614668"/>
                <a:ext cx="742337" cy="742337"/>
              </a:xfrm>
              <a:custGeom>
                <a:avLst/>
                <a:gdLst>
                  <a:gd name="connsiteX0" fmla="*/ 371169 w 742337"/>
                  <a:gd name="connsiteY0" fmla="*/ 0 h 742337"/>
                  <a:gd name="connsiteX1" fmla="*/ 742337 w 742337"/>
                  <a:gd name="connsiteY1" fmla="*/ 371169 h 742337"/>
                  <a:gd name="connsiteX2" fmla="*/ 371169 w 742337"/>
                  <a:gd name="connsiteY2" fmla="*/ 742337 h 742337"/>
                  <a:gd name="connsiteX3" fmla="*/ 0 w 742337"/>
                  <a:gd name="connsiteY3" fmla="*/ 371169 h 742337"/>
                  <a:gd name="connsiteX4" fmla="*/ 371169 w 742337"/>
                  <a:gd name="connsiteY4" fmla="*/ 0 h 742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2337" h="742337">
                    <a:moveTo>
                      <a:pt x="371169" y="0"/>
                    </a:moveTo>
                    <a:cubicBezTo>
                      <a:pt x="576160" y="0"/>
                      <a:pt x="742337" y="166178"/>
                      <a:pt x="742337" y="371169"/>
                    </a:cubicBezTo>
                    <a:cubicBezTo>
                      <a:pt x="742337" y="576160"/>
                      <a:pt x="576160" y="742337"/>
                      <a:pt x="371169" y="742337"/>
                    </a:cubicBezTo>
                    <a:cubicBezTo>
                      <a:pt x="166178" y="742337"/>
                      <a:pt x="0" y="576160"/>
                      <a:pt x="0" y="371169"/>
                    </a:cubicBezTo>
                    <a:cubicBezTo>
                      <a:pt x="0" y="166178"/>
                      <a:pt x="166178" y="0"/>
                      <a:pt x="3711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rgbClr val="00A7D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106" name="Gruppieren 1105">
                <a:extLst>
                  <a:ext uri="{FF2B5EF4-FFF2-40B4-BE49-F238E27FC236}">
                    <a16:creationId xmlns:a16="http://schemas.microsoft.com/office/drawing/2014/main" id="{0D054F1A-0BDD-7BD6-716C-190034B0BE2F}"/>
                  </a:ext>
                </a:extLst>
              </p:cNvPr>
              <p:cNvGrpSpPr/>
              <p:nvPr/>
            </p:nvGrpSpPr>
            <p:grpSpPr>
              <a:xfrm>
                <a:off x="5020889" y="4436810"/>
                <a:ext cx="1043720" cy="546975"/>
                <a:chOff x="8472264" y="2426134"/>
                <a:chExt cx="1043720" cy="546975"/>
              </a:xfrm>
            </p:grpSpPr>
            <p:sp>
              <p:nvSpPr>
                <p:cNvPr id="1107" name="Freihandform: Form 1106">
                  <a:extLst>
                    <a:ext uri="{FF2B5EF4-FFF2-40B4-BE49-F238E27FC236}">
                      <a16:creationId xmlns:a16="http://schemas.microsoft.com/office/drawing/2014/main" id="{6381F748-0DF9-EB50-B549-E9E9F20245D2}"/>
                    </a:ext>
                  </a:extLst>
                </p:cNvPr>
                <p:cNvSpPr/>
                <p:nvPr/>
              </p:nvSpPr>
              <p:spPr>
                <a:xfrm>
                  <a:off x="8599858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108" name="Freihandform: Form 1107" descr="Bauarbeiter Silhouette">
                  <a:extLst>
                    <a:ext uri="{FF2B5EF4-FFF2-40B4-BE49-F238E27FC236}">
                      <a16:creationId xmlns:a16="http://schemas.microsoft.com/office/drawing/2014/main" id="{AB223528-86E6-F4CE-97C5-F4804C5FECE9}"/>
                    </a:ext>
                  </a:extLst>
                </p:cNvPr>
                <p:cNvSpPr/>
                <p:nvPr/>
              </p:nvSpPr>
              <p:spPr>
                <a:xfrm>
                  <a:off x="8472264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solidFill>
                    <a:srgbClr val="00A7DC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pic>
          <p:nvPicPr>
            <p:cNvPr id="1103" name="Grafik 1102" descr="Klemmbrett Silhouette">
              <a:extLst>
                <a:ext uri="{FF2B5EF4-FFF2-40B4-BE49-F238E27FC236}">
                  <a16:creationId xmlns:a16="http://schemas.microsoft.com/office/drawing/2014/main" id="{48FCF5CE-C957-777A-F1C2-F8CB6CFA7C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7031" y="2465553"/>
              <a:ext cx="507400" cy="507400"/>
            </a:xfrm>
            <a:prstGeom prst="rect">
              <a:avLst/>
            </a:prstGeom>
          </p:spPr>
        </p:pic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F7E77A92-F238-CE34-84AD-934CE4879105}"/>
              </a:ext>
            </a:extLst>
          </p:cNvPr>
          <p:cNvGrpSpPr/>
          <p:nvPr/>
        </p:nvGrpSpPr>
        <p:grpSpPr>
          <a:xfrm>
            <a:off x="2764753" y="2193299"/>
            <a:ext cx="1332000" cy="1332000"/>
            <a:chOff x="2043895" y="4399166"/>
            <a:chExt cx="1332000" cy="1332000"/>
          </a:xfrm>
        </p:grpSpPr>
        <p:sp>
          <p:nvSpPr>
            <p:cNvPr id="4" name="Graphic 8">
              <a:extLst>
                <a:ext uri="{FF2B5EF4-FFF2-40B4-BE49-F238E27FC236}">
                  <a16:creationId xmlns:a16="http://schemas.microsoft.com/office/drawing/2014/main" id="{FD66772D-7294-8D58-7902-354CFF33B99B}"/>
                </a:ext>
              </a:extLst>
            </p:cNvPr>
            <p:cNvSpPr/>
            <p:nvPr/>
          </p:nvSpPr>
          <p:spPr>
            <a:xfrm>
              <a:off x="2043895" y="4399166"/>
              <a:ext cx="1332000" cy="1332000"/>
            </a:xfrm>
            <a:custGeom>
              <a:avLst/>
              <a:gdLst>
                <a:gd name="connsiteX0" fmla="*/ 749311 w 749310"/>
                <a:gd name="connsiteY0" fmla="*/ 214804 h 858552"/>
                <a:gd name="connsiteX1" fmla="*/ 374655 w 749310"/>
                <a:gd name="connsiteY1" fmla="*/ 0 h 858552"/>
                <a:gd name="connsiteX2" fmla="*/ 0 w 749310"/>
                <a:gd name="connsiteY2" fmla="*/ 214804 h 858552"/>
                <a:gd name="connsiteX3" fmla="*/ 0 w 749310"/>
                <a:gd name="connsiteY3" fmla="*/ 643748 h 858552"/>
                <a:gd name="connsiteX4" fmla="*/ 374655 w 749310"/>
                <a:gd name="connsiteY4" fmla="*/ 858552 h 858552"/>
                <a:gd name="connsiteX5" fmla="*/ 749311 w 749310"/>
                <a:gd name="connsiteY5" fmla="*/ 643748 h 858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9310" h="858552">
                  <a:moveTo>
                    <a:pt x="749311" y="214804"/>
                  </a:moveTo>
                  <a:lnTo>
                    <a:pt x="374655" y="0"/>
                  </a:lnTo>
                  <a:lnTo>
                    <a:pt x="0" y="214804"/>
                  </a:lnTo>
                  <a:lnTo>
                    <a:pt x="0" y="643748"/>
                  </a:lnTo>
                  <a:lnTo>
                    <a:pt x="374655" y="858552"/>
                  </a:lnTo>
                  <a:lnTo>
                    <a:pt x="749311" y="643748"/>
                  </a:lnTo>
                  <a:close/>
                </a:path>
              </a:pathLst>
            </a:custGeom>
            <a:solidFill>
              <a:schemeClr val="bg1"/>
            </a:solidFill>
            <a:ln w="6633" cap="flat">
              <a:solidFill>
                <a:srgbClr val="7AB5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BR"/>
            </a:p>
          </p:txBody>
        </p:sp>
        <p:pic>
          <p:nvPicPr>
            <p:cNvPr id="48" name="Grafik 47" descr="Windkraftanlagen mit einfarbiger Füllung">
              <a:extLst>
                <a:ext uri="{FF2B5EF4-FFF2-40B4-BE49-F238E27FC236}">
                  <a16:creationId xmlns:a16="http://schemas.microsoft.com/office/drawing/2014/main" id="{A59CAEF9-6E3D-0AE1-5957-F4B8D4CA01E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flipH="1">
              <a:off x="2156497" y="4688384"/>
              <a:ext cx="445353" cy="49790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46" name="Grafik 1045" descr="Solarmodule mit einfarbiger Füllung">
              <a:extLst>
                <a:ext uri="{FF2B5EF4-FFF2-40B4-BE49-F238E27FC236}">
                  <a16:creationId xmlns:a16="http://schemas.microsoft.com/office/drawing/2014/main" id="{336C8EC5-0B75-9444-E69B-C30DC8A9783B}"/>
                </a:ext>
              </a:extLst>
            </p:cNvPr>
            <p:cNvPicPr>
              <a:picLocks/>
            </p:cNvPicPr>
            <p:nvPr/>
          </p:nvPicPr>
          <p:blipFill rotWithShape="1"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 l="9442" t="26769"/>
            <a:stretch/>
          </p:blipFill>
          <p:spPr>
            <a:xfrm flipH="1">
              <a:off x="2737772" y="4669166"/>
              <a:ext cx="438004" cy="396000"/>
            </a:xfrm>
            <a:prstGeom prst="trapezoid">
              <a:avLst/>
            </a:prstGeom>
            <a:noFill/>
            <a:ln>
              <a:noFill/>
            </a:ln>
          </p:spPr>
        </p:pic>
        <p:pic>
          <p:nvPicPr>
            <p:cNvPr id="1047" name="Grafik 1046" descr="Kraftstoff mit einfarbiger Füllung">
              <a:extLst>
                <a:ext uri="{FF2B5EF4-FFF2-40B4-BE49-F238E27FC236}">
                  <a16:creationId xmlns:a16="http://schemas.microsoft.com/office/drawing/2014/main" id="{B391FBF1-684C-A366-2942-10CA835D62A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545365" y="5029068"/>
              <a:ext cx="522230" cy="522230"/>
            </a:xfrm>
            <a:prstGeom prst="rect">
              <a:avLst/>
            </a:prstGeom>
          </p:spPr>
        </p:pic>
      </p:grpSp>
      <p:grpSp>
        <p:nvGrpSpPr>
          <p:cNvPr id="1048" name="Gruppieren 1047">
            <a:extLst>
              <a:ext uri="{FF2B5EF4-FFF2-40B4-BE49-F238E27FC236}">
                <a16:creationId xmlns:a16="http://schemas.microsoft.com/office/drawing/2014/main" id="{5498F213-FEF4-F77F-3886-4E553BD01FCA}"/>
              </a:ext>
            </a:extLst>
          </p:cNvPr>
          <p:cNvGrpSpPr/>
          <p:nvPr/>
        </p:nvGrpSpPr>
        <p:grpSpPr>
          <a:xfrm>
            <a:off x="3724764" y="4433186"/>
            <a:ext cx="1332000" cy="1332000"/>
            <a:chOff x="3724333" y="4444416"/>
            <a:chExt cx="1332000" cy="1332000"/>
          </a:xfrm>
        </p:grpSpPr>
        <p:sp>
          <p:nvSpPr>
            <p:cNvPr id="1050" name="Graphic 18">
              <a:extLst>
                <a:ext uri="{FF2B5EF4-FFF2-40B4-BE49-F238E27FC236}">
                  <a16:creationId xmlns:a16="http://schemas.microsoft.com/office/drawing/2014/main" id="{70975C6A-1E30-7C9A-A842-896DCD2CE0A1}"/>
                </a:ext>
              </a:extLst>
            </p:cNvPr>
            <p:cNvSpPr/>
            <p:nvPr/>
          </p:nvSpPr>
          <p:spPr>
            <a:xfrm>
              <a:off x="3724333" y="4444416"/>
              <a:ext cx="1332000" cy="1332000"/>
            </a:xfrm>
            <a:custGeom>
              <a:avLst/>
              <a:gdLst>
                <a:gd name="connsiteX0" fmla="*/ 749311 w 749310"/>
                <a:gd name="connsiteY0" fmla="*/ 214804 h 858552"/>
                <a:gd name="connsiteX1" fmla="*/ 374655 w 749310"/>
                <a:gd name="connsiteY1" fmla="*/ 0 h 858552"/>
                <a:gd name="connsiteX2" fmla="*/ 0 w 749310"/>
                <a:gd name="connsiteY2" fmla="*/ 214804 h 858552"/>
                <a:gd name="connsiteX3" fmla="*/ 0 w 749310"/>
                <a:gd name="connsiteY3" fmla="*/ 643748 h 858552"/>
                <a:gd name="connsiteX4" fmla="*/ 374655 w 749310"/>
                <a:gd name="connsiteY4" fmla="*/ 858552 h 858552"/>
                <a:gd name="connsiteX5" fmla="*/ 749311 w 749310"/>
                <a:gd name="connsiteY5" fmla="*/ 643748 h 858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9310" h="858552">
                  <a:moveTo>
                    <a:pt x="749311" y="214804"/>
                  </a:moveTo>
                  <a:lnTo>
                    <a:pt x="374655" y="0"/>
                  </a:lnTo>
                  <a:lnTo>
                    <a:pt x="0" y="214804"/>
                  </a:lnTo>
                  <a:lnTo>
                    <a:pt x="0" y="643748"/>
                  </a:lnTo>
                  <a:lnTo>
                    <a:pt x="374655" y="858552"/>
                  </a:lnTo>
                  <a:lnTo>
                    <a:pt x="749311" y="643748"/>
                  </a:lnTo>
                  <a:close/>
                </a:path>
              </a:pathLst>
            </a:custGeom>
            <a:solidFill>
              <a:schemeClr val="bg1"/>
            </a:solidFill>
            <a:ln w="6633" cap="flat">
              <a:solidFill>
                <a:srgbClr val="7AB5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BR"/>
            </a:p>
          </p:txBody>
        </p:sp>
        <p:sp>
          <p:nvSpPr>
            <p:cNvPr id="1051" name="Freeform 5">
              <a:extLst>
                <a:ext uri="{FF2B5EF4-FFF2-40B4-BE49-F238E27FC236}">
                  <a16:creationId xmlns:a16="http://schemas.microsoft.com/office/drawing/2014/main" id="{B8373293-0A5E-3C89-5632-F701DB9A10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48658" y="4687957"/>
              <a:ext cx="470837" cy="439379"/>
            </a:xfrm>
            <a:custGeom>
              <a:avLst/>
              <a:gdLst>
                <a:gd name="T0" fmla="*/ 562 w 7707"/>
                <a:gd name="T1" fmla="*/ 4868 h 7191"/>
                <a:gd name="T2" fmla="*/ 1465 w 7707"/>
                <a:gd name="T3" fmla="*/ 5094 h 7191"/>
                <a:gd name="T4" fmla="*/ 3774 w 7707"/>
                <a:gd name="T5" fmla="*/ 5169 h 7191"/>
                <a:gd name="T6" fmla="*/ 3724 w 7707"/>
                <a:gd name="T7" fmla="*/ 6574 h 7191"/>
                <a:gd name="T8" fmla="*/ 1666 w 7707"/>
                <a:gd name="T9" fmla="*/ 6675 h 7191"/>
                <a:gd name="T10" fmla="*/ 562 w 7707"/>
                <a:gd name="T11" fmla="*/ 4868 h 7191"/>
                <a:gd name="T12" fmla="*/ 7465 w 7707"/>
                <a:gd name="T13" fmla="*/ 4730 h 7191"/>
                <a:gd name="T14" fmla="*/ 6438 w 7707"/>
                <a:gd name="T15" fmla="*/ 6741 h 7191"/>
                <a:gd name="T16" fmla="*/ 5372 w 7707"/>
                <a:gd name="T17" fmla="*/ 6732 h 7191"/>
                <a:gd name="T18" fmla="*/ 5222 w 7707"/>
                <a:gd name="T19" fmla="*/ 7191 h 7191"/>
                <a:gd name="T20" fmla="*/ 4266 w 7707"/>
                <a:gd name="T21" fmla="*/ 6083 h 7191"/>
                <a:gd name="T22" fmla="*/ 5039 w 7707"/>
                <a:gd name="T23" fmla="*/ 4844 h 7191"/>
                <a:gd name="T24" fmla="*/ 5115 w 7707"/>
                <a:gd name="T25" fmla="*/ 5249 h 7191"/>
                <a:gd name="T26" fmla="*/ 6721 w 7707"/>
                <a:gd name="T27" fmla="*/ 5082 h 7191"/>
                <a:gd name="T28" fmla="*/ 7465 w 7707"/>
                <a:gd name="T29" fmla="*/ 4730 h 7191"/>
                <a:gd name="T30" fmla="*/ 126 w 7707"/>
                <a:gd name="T31" fmla="*/ 2718 h 7191"/>
                <a:gd name="T32" fmla="*/ 1800 w 7707"/>
                <a:gd name="T33" fmla="*/ 2719 h 7191"/>
                <a:gd name="T34" fmla="*/ 2588 w 7707"/>
                <a:gd name="T35" fmla="*/ 4134 h 7191"/>
                <a:gd name="T36" fmla="*/ 1972 w 7707"/>
                <a:gd name="T37" fmla="*/ 3862 h 7191"/>
                <a:gd name="T38" fmla="*/ 1705 w 7707"/>
                <a:gd name="T39" fmla="*/ 4732 h 7191"/>
                <a:gd name="T40" fmla="*/ 742 w 7707"/>
                <a:gd name="T41" fmla="*/ 3141 h 7191"/>
                <a:gd name="T42" fmla="*/ 126 w 7707"/>
                <a:gd name="T43" fmla="*/ 2718 h 7191"/>
                <a:gd name="T44" fmla="*/ 7014 w 7707"/>
                <a:gd name="T45" fmla="*/ 2397 h 7191"/>
                <a:gd name="T46" fmla="*/ 7697 w 7707"/>
                <a:gd name="T47" fmla="*/ 3913 h 7191"/>
                <a:gd name="T48" fmla="*/ 7075 w 7707"/>
                <a:gd name="T49" fmla="*/ 4661 h 7191"/>
                <a:gd name="T50" fmla="*/ 6399 w 7707"/>
                <a:gd name="T51" fmla="*/ 4406 h 7191"/>
                <a:gd name="T52" fmla="*/ 5740 w 7707"/>
                <a:gd name="T53" fmla="*/ 2989 h 7191"/>
                <a:gd name="T54" fmla="*/ 7014 w 7707"/>
                <a:gd name="T55" fmla="*/ 2397 h 7191"/>
                <a:gd name="T56" fmla="*/ 3011 w 7707"/>
                <a:gd name="T57" fmla="*/ 267 h 7191"/>
                <a:gd name="T58" fmla="*/ 3548 w 7707"/>
                <a:gd name="T59" fmla="*/ 428 h 7191"/>
                <a:gd name="T60" fmla="*/ 3648 w 7707"/>
                <a:gd name="T61" fmla="*/ 1187 h 7191"/>
                <a:gd name="T62" fmla="*/ 2678 w 7707"/>
                <a:gd name="T63" fmla="*/ 2630 h 7191"/>
                <a:gd name="T64" fmla="*/ 1512 w 7707"/>
                <a:gd name="T65" fmla="*/ 1846 h 7191"/>
                <a:gd name="T66" fmla="*/ 2412 w 7707"/>
                <a:gd name="T67" fmla="*/ 450 h 7191"/>
                <a:gd name="T68" fmla="*/ 3011 w 7707"/>
                <a:gd name="T69" fmla="*/ 267 h 7191"/>
                <a:gd name="T70" fmla="*/ 3448 w 7707"/>
                <a:gd name="T71" fmla="*/ 0 h 7191"/>
                <a:gd name="T72" fmla="*/ 5706 w 7707"/>
                <a:gd name="T73" fmla="*/ 0 h 7191"/>
                <a:gd name="T74" fmla="*/ 6183 w 7707"/>
                <a:gd name="T75" fmla="*/ 953 h 7191"/>
                <a:gd name="T76" fmla="*/ 6660 w 7707"/>
                <a:gd name="T77" fmla="*/ 878 h 7191"/>
                <a:gd name="T78" fmla="*/ 6108 w 7707"/>
                <a:gd name="T79" fmla="*/ 2233 h 7191"/>
                <a:gd name="T80" fmla="*/ 4652 w 7707"/>
                <a:gd name="T81" fmla="*/ 2108 h 7191"/>
                <a:gd name="T82" fmla="*/ 4979 w 7707"/>
                <a:gd name="T83" fmla="*/ 1857 h 7191"/>
                <a:gd name="T84" fmla="*/ 4100 w 7707"/>
                <a:gd name="T85" fmla="*/ 502 h 7191"/>
                <a:gd name="T86" fmla="*/ 3448 w 7707"/>
                <a:gd name="T87" fmla="*/ 0 h 7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707" h="7191">
                  <a:moveTo>
                    <a:pt x="562" y="4868"/>
                  </a:moveTo>
                  <a:cubicBezTo>
                    <a:pt x="805" y="4998"/>
                    <a:pt x="930" y="5044"/>
                    <a:pt x="1465" y="5094"/>
                  </a:cubicBezTo>
                  <a:cubicBezTo>
                    <a:pt x="2001" y="5144"/>
                    <a:pt x="3398" y="4939"/>
                    <a:pt x="3774" y="5169"/>
                  </a:cubicBezTo>
                  <a:lnTo>
                    <a:pt x="3724" y="6574"/>
                  </a:lnTo>
                  <a:lnTo>
                    <a:pt x="1666" y="6675"/>
                  </a:lnTo>
                  <a:lnTo>
                    <a:pt x="562" y="4868"/>
                  </a:lnTo>
                  <a:close/>
                  <a:moveTo>
                    <a:pt x="7465" y="4730"/>
                  </a:moveTo>
                  <a:lnTo>
                    <a:pt x="6438" y="6741"/>
                  </a:lnTo>
                  <a:lnTo>
                    <a:pt x="5372" y="6732"/>
                  </a:lnTo>
                  <a:lnTo>
                    <a:pt x="5222" y="7191"/>
                  </a:lnTo>
                  <a:lnTo>
                    <a:pt x="4266" y="6083"/>
                  </a:lnTo>
                  <a:lnTo>
                    <a:pt x="5039" y="4844"/>
                  </a:lnTo>
                  <a:lnTo>
                    <a:pt x="5115" y="5249"/>
                  </a:lnTo>
                  <a:cubicBezTo>
                    <a:pt x="5395" y="5288"/>
                    <a:pt x="6329" y="5169"/>
                    <a:pt x="6721" y="5082"/>
                  </a:cubicBezTo>
                  <a:cubicBezTo>
                    <a:pt x="7113" y="4996"/>
                    <a:pt x="7194" y="4911"/>
                    <a:pt x="7465" y="4730"/>
                  </a:cubicBezTo>
                  <a:close/>
                  <a:moveTo>
                    <a:pt x="126" y="2718"/>
                  </a:moveTo>
                  <a:lnTo>
                    <a:pt x="1800" y="2719"/>
                  </a:lnTo>
                  <a:lnTo>
                    <a:pt x="2588" y="4134"/>
                  </a:lnTo>
                  <a:cubicBezTo>
                    <a:pt x="2282" y="4035"/>
                    <a:pt x="2177" y="3911"/>
                    <a:pt x="1972" y="3862"/>
                  </a:cubicBezTo>
                  <a:cubicBezTo>
                    <a:pt x="1708" y="4085"/>
                    <a:pt x="1669" y="4233"/>
                    <a:pt x="1705" y="4732"/>
                  </a:cubicBezTo>
                  <a:cubicBezTo>
                    <a:pt x="363" y="4837"/>
                    <a:pt x="0" y="3763"/>
                    <a:pt x="742" y="3141"/>
                  </a:cubicBezTo>
                  <a:lnTo>
                    <a:pt x="126" y="2718"/>
                  </a:lnTo>
                  <a:close/>
                  <a:moveTo>
                    <a:pt x="7014" y="2397"/>
                  </a:moveTo>
                  <a:cubicBezTo>
                    <a:pt x="7234" y="2869"/>
                    <a:pt x="7477" y="3441"/>
                    <a:pt x="7697" y="3913"/>
                  </a:cubicBezTo>
                  <a:cubicBezTo>
                    <a:pt x="7707" y="4291"/>
                    <a:pt x="7397" y="4554"/>
                    <a:pt x="7075" y="4661"/>
                  </a:cubicBezTo>
                  <a:cubicBezTo>
                    <a:pt x="6604" y="4861"/>
                    <a:pt x="6616" y="4855"/>
                    <a:pt x="6399" y="4406"/>
                  </a:cubicBezTo>
                  <a:lnTo>
                    <a:pt x="5740" y="2989"/>
                  </a:lnTo>
                  <a:lnTo>
                    <a:pt x="7014" y="2397"/>
                  </a:lnTo>
                  <a:close/>
                  <a:moveTo>
                    <a:pt x="3011" y="267"/>
                  </a:moveTo>
                  <a:cubicBezTo>
                    <a:pt x="3221" y="263"/>
                    <a:pt x="3420" y="317"/>
                    <a:pt x="3548" y="428"/>
                  </a:cubicBezTo>
                  <a:cubicBezTo>
                    <a:pt x="3962" y="730"/>
                    <a:pt x="3950" y="723"/>
                    <a:pt x="3648" y="1187"/>
                  </a:cubicBezTo>
                  <a:lnTo>
                    <a:pt x="2678" y="2630"/>
                  </a:lnTo>
                  <a:lnTo>
                    <a:pt x="1512" y="1846"/>
                  </a:lnTo>
                  <a:cubicBezTo>
                    <a:pt x="1835" y="1365"/>
                    <a:pt x="2089" y="931"/>
                    <a:pt x="2412" y="450"/>
                  </a:cubicBezTo>
                  <a:cubicBezTo>
                    <a:pt x="2582" y="332"/>
                    <a:pt x="2802" y="271"/>
                    <a:pt x="3011" y="267"/>
                  </a:cubicBezTo>
                  <a:close/>
                  <a:moveTo>
                    <a:pt x="3448" y="0"/>
                  </a:moveTo>
                  <a:lnTo>
                    <a:pt x="5706" y="0"/>
                  </a:lnTo>
                  <a:lnTo>
                    <a:pt x="6183" y="953"/>
                  </a:lnTo>
                  <a:lnTo>
                    <a:pt x="6660" y="878"/>
                  </a:lnTo>
                  <a:lnTo>
                    <a:pt x="6108" y="2233"/>
                  </a:lnTo>
                  <a:lnTo>
                    <a:pt x="4652" y="2108"/>
                  </a:lnTo>
                  <a:lnTo>
                    <a:pt x="4979" y="1857"/>
                  </a:lnTo>
                  <a:cubicBezTo>
                    <a:pt x="4887" y="1589"/>
                    <a:pt x="4355" y="811"/>
                    <a:pt x="4100" y="502"/>
                  </a:cubicBezTo>
                  <a:cubicBezTo>
                    <a:pt x="3845" y="192"/>
                    <a:pt x="3732" y="159"/>
                    <a:pt x="3448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grpSp>
          <p:nvGrpSpPr>
            <p:cNvPr id="1052" name="Gruppieren 1051">
              <a:extLst>
                <a:ext uri="{FF2B5EF4-FFF2-40B4-BE49-F238E27FC236}">
                  <a16:creationId xmlns:a16="http://schemas.microsoft.com/office/drawing/2014/main" id="{53E8A2C4-231A-50F6-12DF-1311C8EF0163}"/>
                </a:ext>
              </a:extLst>
            </p:cNvPr>
            <p:cNvGrpSpPr/>
            <p:nvPr/>
          </p:nvGrpSpPr>
          <p:grpSpPr>
            <a:xfrm>
              <a:off x="3860641" y="4910344"/>
              <a:ext cx="1125259" cy="651936"/>
              <a:chOff x="3716625" y="4522126"/>
              <a:chExt cx="1125259" cy="651936"/>
            </a:xfrm>
            <a:solidFill>
              <a:schemeClr val="accent1"/>
            </a:solidFill>
          </p:grpSpPr>
          <p:sp>
            <p:nvSpPr>
              <p:cNvPr id="1067" name="Freihandform: Form 1066">
                <a:extLst>
                  <a:ext uri="{FF2B5EF4-FFF2-40B4-BE49-F238E27FC236}">
                    <a16:creationId xmlns:a16="http://schemas.microsoft.com/office/drawing/2014/main" id="{767ADDA9-87DE-12DE-495C-D86481432453}"/>
                  </a:ext>
                </a:extLst>
              </p:cNvPr>
              <p:cNvSpPr/>
              <p:nvPr/>
            </p:nvSpPr>
            <p:spPr>
              <a:xfrm>
                <a:off x="3716625" y="4798070"/>
                <a:ext cx="493724" cy="122143"/>
              </a:xfrm>
              <a:custGeom>
                <a:avLst/>
                <a:gdLst>
                  <a:gd name="connsiteX0" fmla="*/ 905315 w 972188"/>
                  <a:gd name="connsiteY0" fmla="*/ 240511 h 240511"/>
                  <a:gd name="connsiteX1" fmla="*/ 972188 w 972188"/>
                  <a:gd name="connsiteY1" fmla="*/ 211394 h 240511"/>
                  <a:gd name="connsiteX2" fmla="*/ 948190 w 972188"/>
                  <a:gd name="connsiteY2" fmla="*/ 203362 h 240511"/>
                  <a:gd name="connsiteX3" fmla="*/ 50956 w 972188"/>
                  <a:gd name="connsiteY3" fmla="*/ 5144 h 240511"/>
                  <a:gd name="connsiteX4" fmla="*/ 0 w 972188"/>
                  <a:gd name="connsiteY4" fmla="*/ 0 h 240511"/>
                  <a:gd name="connsiteX5" fmla="*/ 0 w 972188"/>
                  <a:gd name="connsiteY5" fmla="*/ 48821 h 240511"/>
                  <a:gd name="connsiteX6" fmla="*/ 45860 w 972188"/>
                  <a:gd name="connsiteY6" fmla="*/ 53455 h 240511"/>
                  <a:gd name="connsiteX7" fmla="*/ 905315 w 972188"/>
                  <a:gd name="connsiteY7" fmla="*/ 240511 h 240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2188" h="240511">
                    <a:moveTo>
                      <a:pt x="905315" y="240511"/>
                    </a:moveTo>
                    <a:cubicBezTo>
                      <a:pt x="927493" y="230563"/>
                      <a:pt x="949840" y="220930"/>
                      <a:pt x="972188" y="211394"/>
                    </a:cubicBezTo>
                    <a:lnTo>
                      <a:pt x="948190" y="203362"/>
                    </a:lnTo>
                    <a:cubicBezTo>
                      <a:pt x="657092" y="105282"/>
                      <a:pt x="356281" y="38826"/>
                      <a:pt x="50956" y="5144"/>
                    </a:cubicBezTo>
                    <a:lnTo>
                      <a:pt x="0" y="0"/>
                    </a:lnTo>
                    <a:lnTo>
                      <a:pt x="0" y="48821"/>
                    </a:lnTo>
                    <a:lnTo>
                      <a:pt x="45860" y="53455"/>
                    </a:lnTo>
                    <a:cubicBezTo>
                      <a:pt x="338065" y="85781"/>
                      <a:pt x="626106" y="148471"/>
                      <a:pt x="905315" y="240511"/>
                    </a:cubicBezTo>
                    <a:close/>
                  </a:path>
                </a:pathLst>
              </a:custGeom>
              <a:grpFill/>
              <a:ln w="242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73" name="Freihandform: Form 1072">
                <a:extLst>
                  <a:ext uri="{FF2B5EF4-FFF2-40B4-BE49-F238E27FC236}">
                    <a16:creationId xmlns:a16="http://schemas.microsoft.com/office/drawing/2014/main" id="{AEF4CD05-105F-D3AD-5946-05376E5C9BF6}"/>
                  </a:ext>
                </a:extLst>
              </p:cNvPr>
              <p:cNvSpPr/>
              <p:nvPr/>
            </p:nvSpPr>
            <p:spPr>
              <a:xfrm>
                <a:off x="3716686" y="4921446"/>
                <a:ext cx="334267" cy="76709"/>
              </a:xfrm>
              <a:custGeom>
                <a:avLst/>
                <a:gdLst>
                  <a:gd name="connsiteX0" fmla="*/ 563935 w 658203"/>
                  <a:gd name="connsiteY0" fmla="*/ 142846 h 151047"/>
                  <a:gd name="connsiteX1" fmla="*/ 593053 w 658203"/>
                  <a:gd name="connsiteY1" fmla="*/ 149859 h 151047"/>
                  <a:gd name="connsiteX2" fmla="*/ 597153 w 658203"/>
                  <a:gd name="connsiteY2" fmla="*/ 151048 h 151047"/>
                  <a:gd name="connsiteX3" fmla="*/ 658203 w 658203"/>
                  <a:gd name="connsiteY3" fmla="*/ 118217 h 151047"/>
                  <a:gd name="connsiteX4" fmla="*/ 605501 w 658203"/>
                  <a:gd name="connsiteY4" fmla="*/ 102979 h 151047"/>
                  <a:gd name="connsiteX5" fmla="*/ 575291 w 658203"/>
                  <a:gd name="connsiteY5" fmla="*/ 95700 h 151047"/>
                  <a:gd name="connsiteX6" fmla="*/ 50713 w 658203"/>
                  <a:gd name="connsiteY6" fmla="*/ 4610 h 151047"/>
                  <a:gd name="connsiteX7" fmla="*/ 0 w 658203"/>
                  <a:gd name="connsiteY7" fmla="*/ 0 h 151047"/>
                  <a:gd name="connsiteX8" fmla="*/ 0 w 658203"/>
                  <a:gd name="connsiteY8" fmla="*/ 48724 h 151047"/>
                  <a:gd name="connsiteX9" fmla="*/ 45860 w 658203"/>
                  <a:gd name="connsiteY9" fmla="*/ 52873 h 151047"/>
                  <a:gd name="connsiteX10" fmla="*/ 563935 w 658203"/>
                  <a:gd name="connsiteY10" fmla="*/ 142846 h 151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58203" h="151047">
                    <a:moveTo>
                      <a:pt x="563935" y="142846"/>
                    </a:moveTo>
                    <a:lnTo>
                      <a:pt x="593053" y="149859"/>
                    </a:lnTo>
                    <a:lnTo>
                      <a:pt x="597153" y="151048"/>
                    </a:lnTo>
                    <a:cubicBezTo>
                      <a:pt x="617422" y="139934"/>
                      <a:pt x="637773" y="128991"/>
                      <a:pt x="658203" y="118217"/>
                    </a:cubicBezTo>
                    <a:lnTo>
                      <a:pt x="605501" y="102979"/>
                    </a:lnTo>
                    <a:lnTo>
                      <a:pt x="575291" y="95700"/>
                    </a:lnTo>
                    <a:cubicBezTo>
                      <a:pt x="402483" y="54515"/>
                      <a:pt x="227287" y="24095"/>
                      <a:pt x="50713" y="4610"/>
                    </a:cubicBezTo>
                    <a:lnTo>
                      <a:pt x="0" y="0"/>
                    </a:lnTo>
                    <a:lnTo>
                      <a:pt x="0" y="48724"/>
                    </a:lnTo>
                    <a:lnTo>
                      <a:pt x="45860" y="52873"/>
                    </a:lnTo>
                    <a:cubicBezTo>
                      <a:pt x="220243" y="72151"/>
                      <a:pt x="393265" y="102200"/>
                      <a:pt x="563935" y="142846"/>
                    </a:cubicBezTo>
                    <a:close/>
                  </a:path>
                </a:pathLst>
              </a:custGeom>
              <a:grpFill/>
              <a:ln w="242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1" name="Freihandform: Form 1080">
                <a:extLst>
                  <a:ext uri="{FF2B5EF4-FFF2-40B4-BE49-F238E27FC236}">
                    <a16:creationId xmlns:a16="http://schemas.microsoft.com/office/drawing/2014/main" id="{61601040-F9D1-7FFD-6018-9B5E6828657D}"/>
                  </a:ext>
                </a:extLst>
              </p:cNvPr>
              <p:cNvSpPr/>
              <p:nvPr/>
            </p:nvSpPr>
            <p:spPr>
              <a:xfrm>
                <a:off x="3716686" y="5042024"/>
                <a:ext cx="191125" cy="43179"/>
              </a:xfrm>
              <a:custGeom>
                <a:avLst/>
                <a:gdLst>
                  <a:gd name="connsiteX0" fmla="*/ 250460 w 376344"/>
                  <a:gd name="connsiteY0" fmla="*/ 77526 h 85023"/>
                  <a:gd name="connsiteX1" fmla="*/ 311122 w 376344"/>
                  <a:gd name="connsiteY1" fmla="*/ 85023 h 85023"/>
                  <a:gd name="connsiteX2" fmla="*/ 376345 w 376344"/>
                  <a:gd name="connsiteY2" fmla="*/ 43288 h 85023"/>
                  <a:gd name="connsiteX3" fmla="*/ 257448 w 376344"/>
                  <a:gd name="connsiteY3" fmla="*/ 29481 h 85023"/>
                  <a:gd name="connsiteX4" fmla="*/ 226753 w 376344"/>
                  <a:gd name="connsiteY4" fmla="*/ 25162 h 85023"/>
                  <a:gd name="connsiteX5" fmla="*/ 50834 w 376344"/>
                  <a:gd name="connsiteY5" fmla="*/ 4586 h 85023"/>
                  <a:gd name="connsiteX6" fmla="*/ 0 w 376344"/>
                  <a:gd name="connsiteY6" fmla="*/ 0 h 85023"/>
                  <a:gd name="connsiteX7" fmla="*/ 0 w 376344"/>
                  <a:gd name="connsiteY7" fmla="*/ 48723 h 85023"/>
                  <a:gd name="connsiteX8" fmla="*/ 46297 w 376344"/>
                  <a:gd name="connsiteY8" fmla="*/ 52897 h 85023"/>
                  <a:gd name="connsiteX9" fmla="*/ 219983 w 376344"/>
                  <a:gd name="connsiteY9" fmla="*/ 73206 h 85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6344" h="85023">
                    <a:moveTo>
                      <a:pt x="250460" y="77526"/>
                    </a:moveTo>
                    <a:cubicBezTo>
                      <a:pt x="265844" y="79734"/>
                      <a:pt x="288725" y="82378"/>
                      <a:pt x="311122" y="85023"/>
                    </a:cubicBezTo>
                    <a:cubicBezTo>
                      <a:pt x="332734" y="70901"/>
                      <a:pt x="354475" y="56990"/>
                      <a:pt x="376345" y="43288"/>
                    </a:cubicBezTo>
                    <a:cubicBezTo>
                      <a:pt x="351619" y="40692"/>
                      <a:pt x="287997" y="33898"/>
                      <a:pt x="257448" y="29481"/>
                    </a:cubicBezTo>
                    <a:lnTo>
                      <a:pt x="226753" y="25162"/>
                    </a:lnTo>
                    <a:cubicBezTo>
                      <a:pt x="174099" y="17737"/>
                      <a:pt x="118242" y="11210"/>
                      <a:pt x="50834" y="4586"/>
                    </a:cubicBezTo>
                    <a:lnTo>
                      <a:pt x="0" y="0"/>
                    </a:lnTo>
                    <a:lnTo>
                      <a:pt x="0" y="48723"/>
                    </a:lnTo>
                    <a:lnTo>
                      <a:pt x="46297" y="52897"/>
                    </a:lnTo>
                    <a:cubicBezTo>
                      <a:pt x="112806" y="59448"/>
                      <a:pt x="168009" y="65903"/>
                      <a:pt x="219983" y="73206"/>
                    </a:cubicBezTo>
                    <a:close/>
                  </a:path>
                </a:pathLst>
              </a:custGeom>
              <a:grpFill/>
              <a:ln w="242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5" name="Freihandform: Form 1084">
                <a:extLst>
                  <a:ext uri="{FF2B5EF4-FFF2-40B4-BE49-F238E27FC236}">
                    <a16:creationId xmlns:a16="http://schemas.microsoft.com/office/drawing/2014/main" id="{72CE1C71-8A82-7610-7A6F-A34F32A32EF7}"/>
                  </a:ext>
                </a:extLst>
              </p:cNvPr>
              <p:cNvSpPr/>
              <p:nvPr/>
            </p:nvSpPr>
            <p:spPr>
              <a:xfrm>
                <a:off x="4052149" y="4915974"/>
                <a:ext cx="724233" cy="258088"/>
              </a:xfrm>
              <a:custGeom>
                <a:avLst/>
                <a:gdLst>
                  <a:gd name="connsiteX0" fmla="*/ 0 w 1426082"/>
                  <a:gd name="connsiteY0" fmla="*/ 508199 h 508199"/>
                  <a:gd name="connsiteX1" fmla="*/ 102688 w 1426082"/>
                  <a:gd name="connsiteY1" fmla="*/ 508199 h 508199"/>
                  <a:gd name="connsiteX2" fmla="*/ 144278 w 1426082"/>
                  <a:gd name="connsiteY2" fmla="*/ 485900 h 508199"/>
                  <a:gd name="connsiteX3" fmla="*/ 1426083 w 1426082"/>
                  <a:gd name="connsiteY3" fmla="*/ 49136 h 508199"/>
                  <a:gd name="connsiteX4" fmla="*/ 1426083 w 1426082"/>
                  <a:gd name="connsiteY4" fmla="*/ 0 h 508199"/>
                  <a:gd name="connsiteX5" fmla="*/ 121348 w 1426082"/>
                  <a:gd name="connsiteY5" fmla="*/ 443121 h 50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26082" h="508199">
                    <a:moveTo>
                      <a:pt x="0" y="508199"/>
                    </a:moveTo>
                    <a:lnTo>
                      <a:pt x="102688" y="508199"/>
                    </a:lnTo>
                    <a:lnTo>
                      <a:pt x="144278" y="485900"/>
                    </a:lnTo>
                    <a:cubicBezTo>
                      <a:pt x="544659" y="270903"/>
                      <a:pt x="977728" y="123340"/>
                      <a:pt x="1426083" y="49136"/>
                    </a:cubicBezTo>
                    <a:lnTo>
                      <a:pt x="1426083" y="0"/>
                    </a:lnTo>
                    <a:cubicBezTo>
                      <a:pt x="969682" y="74628"/>
                      <a:pt x="528800" y="224363"/>
                      <a:pt x="121348" y="443121"/>
                    </a:cubicBezTo>
                    <a:close/>
                  </a:path>
                </a:pathLst>
              </a:custGeom>
              <a:grpFill/>
              <a:ln w="242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97" name="Freihandform: Form 1096">
                <a:extLst>
                  <a:ext uri="{FF2B5EF4-FFF2-40B4-BE49-F238E27FC236}">
                    <a16:creationId xmlns:a16="http://schemas.microsoft.com/office/drawing/2014/main" id="{40B18C5A-3944-28B3-FCB7-320364C8291F}"/>
                  </a:ext>
                </a:extLst>
              </p:cNvPr>
              <p:cNvSpPr/>
              <p:nvPr/>
            </p:nvSpPr>
            <p:spPr>
              <a:xfrm>
                <a:off x="4339072" y="5043897"/>
                <a:ext cx="437273" cy="130165"/>
              </a:xfrm>
              <a:custGeom>
                <a:avLst/>
                <a:gdLst>
                  <a:gd name="connsiteX0" fmla="*/ 0 w 861031"/>
                  <a:gd name="connsiteY0" fmla="*/ 256308 h 256307"/>
                  <a:gd name="connsiteX1" fmla="*/ 140323 w 861031"/>
                  <a:gd name="connsiteY1" fmla="*/ 256308 h 256307"/>
                  <a:gd name="connsiteX2" fmla="*/ 330436 w 861031"/>
                  <a:gd name="connsiteY2" fmla="*/ 186280 h 256307"/>
                  <a:gd name="connsiteX3" fmla="*/ 861032 w 861031"/>
                  <a:gd name="connsiteY3" fmla="*/ 49451 h 256307"/>
                  <a:gd name="connsiteX4" fmla="*/ 861032 w 861031"/>
                  <a:gd name="connsiteY4" fmla="*/ 0 h 256307"/>
                  <a:gd name="connsiteX5" fmla="*/ 314422 w 861031"/>
                  <a:gd name="connsiteY5" fmla="*/ 140468 h 25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1031" h="256307">
                    <a:moveTo>
                      <a:pt x="0" y="256308"/>
                    </a:moveTo>
                    <a:lnTo>
                      <a:pt x="140323" y="256308"/>
                    </a:lnTo>
                    <a:lnTo>
                      <a:pt x="330436" y="186280"/>
                    </a:lnTo>
                    <a:cubicBezTo>
                      <a:pt x="504130" y="129154"/>
                      <a:pt x="681374" y="83446"/>
                      <a:pt x="861032" y="49451"/>
                    </a:cubicBezTo>
                    <a:lnTo>
                      <a:pt x="861032" y="0"/>
                    </a:lnTo>
                    <a:cubicBezTo>
                      <a:pt x="675914" y="34643"/>
                      <a:pt x="493306" y="81571"/>
                      <a:pt x="314422" y="140468"/>
                    </a:cubicBezTo>
                    <a:close/>
                  </a:path>
                </a:pathLst>
              </a:custGeom>
              <a:grpFill/>
              <a:ln w="242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98" name="Freihandform: Form 1097">
                <a:extLst>
                  <a:ext uri="{FF2B5EF4-FFF2-40B4-BE49-F238E27FC236}">
                    <a16:creationId xmlns:a16="http://schemas.microsoft.com/office/drawing/2014/main" id="{CEA6EDDB-BC43-C85F-4BF7-BF550A403F05}"/>
                  </a:ext>
                </a:extLst>
              </p:cNvPr>
              <p:cNvSpPr/>
              <p:nvPr/>
            </p:nvSpPr>
            <p:spPr>
              <a:xfrm>
                <a:off x="3810143" y="4785144"/>
                <a:ext cx="966252" cy="388918"/>
              </a:xfrm>
              <a:custGeom>
                <a:avLst/>
                <a:gdLst>
                  <a:gd name="connsiteX0" fmla="*/ 1902641 w 1902641"/>
                  <a:gd name="connsiteY0" fmla="*/ 0 h 765817"/>
                  <a:gd name="connsiteX1" fmla="*/ 1902641 w 1902641"/>
                  <a:gd name="connsiteY1" fmla="*/ 49014 h 765817"/>
                  <a:gd name="connsiteX2" fmla="*/ 1640777 w 1902641"/>
                  <a:gd name="connsiteY2" fmla="*/ 95117 h 765817"/>
                  <a:gd name="connsiteX3" fmla="*/ 1592247 w 1902641"/>
                  <a:gd name="connsiteY3" fmla="*/ 105308 h 765817"/>
                  <a:gd name="connsiteX4" fmla="*/ 84587 w 1902641"/>
                  <a:gd name="connsiteY4" fmla="*/ 765817 h 765817"/>
                  <a:gd name="connsiteX5" fmla="*/ 0 w 1902641"/>
                  <a:gd name="connsiteY5" fmla="*/ 765817 h 765817"/>
                  <a:gd name="connsiteX6" fmla="*/ 19679 w 1902641"/>
                  <a:gd name="connsiteY6" fmla="*/ 751598 h 765817"/>
                  <a:gd name="connsiteX7" fmla="*/ 1538404 w 1902641"/>
                  <a:gd name="connsiteY7" fmla="*/ 68014 h 765817"/>
                  <a:gd name="connsiteX8" fmla="*/ 1538404 w 1902641"/>
                  <a:gd name="connsiteY8" fmla="*/ 67450 h 765817"/>
                  <a:gd name="connsiteX9" fmla="*/ 1595234 w 1902641"/>
                  <a:gd name="connsiteY9" fmla="*/ 55371 h 765817"/>
                  <a:gd name="connsiteX10" fmla="*/ 1595166 w 1902641"/>
                  <a:gd name="connsiteY10" fmla="*/ 55052 h 765817"/>
                  <a:gd name="connsiteX11" fmla="*/ 1630731 w 1902641"/>
                  <a:gd name="connsiteY11" fmla="*/ 47583 h 765817"/>
                  <a:gd name="connsiteX12" fmla="*/ 1902641 w 1902641"/>
                  <a:gd name="connsiteY12" fmla="*/ 0 h 765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02641" h="765817">
                    <a:moveTo>
                      <a:pt x="1902641" y="0"/>
                    </a:moveTo>
                    <a:lnTo>
                      <a:pt x="1902641" y="49014"/>
                    </a:lnTo>
                    <a:cubicBezTo>
                      <a:pt x="1818297" y="61147"/>
                      <a:pt x="1730556" y="76433"/>
                      <a:pt x="1640777" y="95117"/>
                    </a:cubicBezTo>
                    <a:lnTo>
                      <a:pt x="1592247" y="105308"/>
                    </a:lnTo>
                    <a:cubicBezTo>
                      <a:pt x="1051145" y="224181"/>
                      <a:pt x="538809" y="448634"/>
                      <a:pt x="84587" y="765817"/>
                    </a:cubicBezTo>
                    <a:lnTo>
                      <a:pt x="0" y="765817"/>
                    </a:lnTo>
                    <a:lnTo>
                      <a:pt x="19679" y="751598"/>
                    </a:lnTo>
                    <a:cubicBezTo>
                      <a:pt x="476022" y="426044"/>
                      <a:pt x="992122" y="193746"/>
                      <a:pt x="1538404" y="68014"/>
                    </a:cubicBezTo>
                    <a:lnTo>
                      <a:pt x="1538404" y="67450"/>
                    </a:lnTo>
                    <a:lnTo>
                      <a:pt x="1595234" y="55371"/>
                    </a:lnTo>
                    <a:lnTo>
                      <a:pt x="1595166" y="55052"/>
                    </a:lnTo>
                    <a:lnTo>
                      <a:pt x="1630731" y="47583"/>
                    </a:lnTo>
                    <a:cubicBezTo>
                      <a:pt x="1724053" y="28171"/>
                      <a:pt x="1815143" y="12350"/>
                      <a:pt x="1902641" y="0"/>
                    </a:cubicBezTo>
                    <a:close/>
                  </a:path>
                </a:pathLst>
              </a:custGeom>
              <a:grpFill/>
              <a:ln w="242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pic>
            <p:nvPicPr>
              <p:cNvPr id="1099" name="Grafik 1098" descr="Pflanze Silhouette">
                <a:extLst>
                  <a:ext uri="{FF2B5EF4-FFF2-40B4-BE49-F238E27FC236}">
                    <a16:creationId xmlns:a16="http://schemas.microsoft.com/office/drawing/2014/main" id="{20881638-B1E6-2C1C-337B-70ACDC90B4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4464344" y="4522126"/>
                <a:ext cx="377540" cy="377539"/>
              </a:xfrm>
              <a:custGeom>
                <a:avLst/>
                <a:gdLst>
                  <a:gd name="connsiteX0" fmla="*/ 0 w 1105272"/>
                  <a:gd name="connsiteY0" fmla="*/ 0 h 1105272"/>
                  <a:gd name="connsiteX1" fmla="*/ 1105272 w 1105272"/>
                  <a:gd name="connsiteY1" fmla="*/ 0 h 1105272"/>
                  <a:gd name="connsiteX2" fmla="*/ 1105272 w 1105272"/>
                  <a:gd name="connsiteY2" fmla="*/ 857311 h 1105272"/>
                  <a:gd name="connsiteX3" fmla="*/ 196754 w 1105272"/>
                  <a:gd name="connsiteY3" fmla="*/ 857311 h 1105272"/>
                  <a:gd name="connsiteX4" fmla="*/ 196754 w 1105272"/>
                  <a:gd name="connsiteY4" fmla="*/ 1037311 h 1105272"/>
                  <a:gd name="connsiteX5" fmla="*/ 1105272 w 1105272"/>
                  <a:gd name="connsiteY5" fmla="*/ 1037311 h 1105272"/>
                  <a:gd name="connsiteX6" fmla="*/ 1105272 w 1105272"/>
                  <a:gd name="connsiteY6" fmla="*/ 1105272 h 1105272"/>
                  <a:gd name="connsiteX7" fmla="*/ 0 w 1105272"/>
                  <a:gd name="connsiteY7" fmla="*/ 1105272 h 1105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05272" h="1105272">
                    <a:moveTo>
                      <a:pt x="0" y="0"/>
                    </a:moveTo>
                    <a:lnTo>
                      <a:pt x="1105272" y="0"/>
                    </a:lnTo>
                    <a:lnTo>
                      <a:pt x="1105272" y="857311"/>
                    </a:lnTo>
                    <a:lnTo>
                      <a:pt x="196754" y="857311"/>
                    </a:lnTo>
                    <a:lnTo>
                      <a:pt x="196754" y="1037311"/>
                    </a:lnTo>
                    <a:lnTo>
                      <a:pt x="1105272" y="1037311"/>
                    </a:lnTo>
                    <a:lnTo>
                      <a:pt x="1105272" y="1105272"/>
                    </a:lnTo>
                    <a:lnTo>
                      <a:pt x="0" y="1105272"/>
                    </a:lnTo>
                    <a:close/>
                  </a:path>
                </a:pathLst>
              </a:custGeom>
            </p:spPr>
          </p:pic>
        </p:grpSp>
      </p:grpSp>
      <p:grpSp>
        <p:nvGrpSpPr>
          <p:cNvPr id="1109" name="Gruppieren 1108">
            <a:extLst>
              <a:ext uri="{FF2B5EF4-FFF2-40B4-BE49-F238E27FC236}">
                <a16:creationId xmlns:a16="http://schemas.microsoft.com/office/drawing/2014/main" id="{4E2BC4A3-AED7-34CF-8DB7-9A3F80825D4F}"/>
              </a:ext>
            </a:extLst>
          </p:cNvPr>
          <p:cNvGrpSpPr/>
          <p:nvPr/>
        </p:nvGrpSpPr>
        <p:grpSpPr>
          <a:xfrm>
            <a:off x="7911276" y="4770661"/>
            <a:ext cx="1332000" cy="1332000"/>
            <a:chOff x="7937615" y="4756368"/>
            <a:chExt cx="1332000" cy="1332000"/>
          </a:xfrm>
        </p:grpSpPr>
        <p:sp>
          <p:nvSpPr>
            <p:cNvPr id="1110" name="Graphic 18">
              <a:extLst>
                <a:ext uri="{FF2B5EF4-FFF2-40B4-BE49-F238E27FC236}">
                  <a16:creationId xmlns:a16="http://schemas.microsoft.com/office/drawing/2014/main" id="{D6D69A6D-8EA4-A858-5478-15C34E3E76BA}"/>
                </a:ext>
              </a:extLst>
            </p:cNvPr>
            <p:cNvSpPr/>
            <p:nvPr/>
          </p:nvSpPr>
          <p:spPr>
            <a:xfrm>
              <a:off x="7937615" y="4756368"/>
              <a:ext cx="1332000" cy="1332000"/>
            </a:xfrm>
            <a:custGeom>
              <a:avLst/>
              <a:gdLst>
                <a:gd name="connsiteX0" fmla="*/ 749311 w 749310"/>
                <a:gd name="connsiteY0" fmla="*/ 214804 h 858552"/>
                <a:gd name="connsiteX1" fmla="*/ 374655 w 749310"/>
                <a:gd name="connsiteY1" fmla="*/ 0 h 858552"/>
                <a:gd name="connsiteX2" fmla="*/ 0 w 749310"/>
                <a:gd name="connsiteY2" fmla="*/ 214804 h 858552"/>
                <a:gd name="connsiteX3" fmla="*/ 0 w 749310"/>
                <a:gd name="connsiteY3" fmla="*/ 643748 h 858552"/>
                <a:gd name="connsiteX4" fmla="*/ 374655 w 749310"/>
                <a:gd name="connsiteY4" fmla="*/ 858552 h 858552"/>
                <a:gd name="connsiteX5" fmla="*/ 749311 w 749310"/>
                <a:gd name="connsiteY5" fmla="*/ 643748 h 858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9310" h="858552">
                  <a:moveTo>
                    <a:pt x="749311" y="214804"/>
                  </a:moveTo>
                  <a:lnTo>
                    <a:pt x="374655" y="0"/>
                  </a:lnTo>
                  <a:lnTo>
                    <a:pt x="0" y="214804"/>
                  </a:lnTo>
                  <a:lnTo>
                    <a:pt x="0" y="643748"/>
                  </a:lnTo>
                  <a:lnTo>
                    <a:pt x="374655" y="858552"/>
                  </a:lnTo>
                  <a:lnTo>
                    <a:pt x="749311" y="643748"/>
                  </a:lnTo>
                  <a:close/>
                </a:path>
              </a:pathLst>
            </a:custGeom>
            <a:solidFill>
              <a:schemeClr val="bg1"/>
            </a:solidFill>
            <a:ln w="6633" cap="flat">
              <a:solidFill>
                <a:srgbClr val="FAAF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BR"/>
            </a:p>
          </p:txBody>
        </p:sp>
        <p:grpSp>
          <p:nvGrpSpPr>
            <p:cNvPr id="1111" name="Gruppieren 1110">
              <a:extLst>
                <a:ext uri="{FF2B5EF4-FFF2-40B4-BE49-F238E27FC236}">
                  <a16:creationId xmlns:a16="http://schemas.microsoft.com/office/drawing/2014/main" id="{B8AFBE24-63E6-2535-3FC6-3A6F618486F9}"/>
                </a:ext>
              </a:extLst>
            </p:cNvPr>
            <p:cNvGrpSpPr/>
            <p:nvPr/>
          </p:nvGrpSpPr>
          <p:grpSpPr>
            <a:xfrm>
              <a:off x="8147859" y="4982423"/>
              <a:ext cx="879286" cy="800352"/>
              <a:chOff x="3996624" y="2073160"/>
              <a:chExt cx="1775631" cy="1616231"/>
            </a:xfrm>
            <a:solidFill>
              <a:srgbClr val="FAAF00"/>
            </a:solidFill>
          </p:grpSpPr>
          <p:grpSp>
            <p:nvGrpSpPr>
              <p:cNvPr id="1112" name="Grafik 13" descr="Blaupause Silhouette">
                <a:extLst>
                  <a:ext uri="{FF2B5EF4-FFF2-40B4-BE49-F238E27FC236}">
                    <a16:creationId xmlns:a16="http://schemas.microsoft.com/office/drawing/2014/main" id="{9E11977C-40A3-718B-497C-2CF22917373E}"/>
                  </a:ext>
                </a:extLst>
              </p:cNvPr>
              <p:cNvGrpSpPr/>
              <p:nvPr/>
            </p:nvGrpSpPr>
            <p:grpSpPr>
              <a:xfrm>
                <a:off x="3996624" y="2073160"/>
                <a:ext cx="1775631" cy="1616231"/>
                <a:chOff x="3996624" y="2073160"/>
                <a:chExt cx="1775631" cy="1616231"/>
              </a:xfrm>
              <a:grpFill/>
            </p:grpSpPr>
            <p:sp>
              <p:nvSpPr>
                <p:cNvPr id="1143" name="Freihandform: Form 1142">
                  <a:extLst>
                    <a:ext uri="{FF2B5EF4-FFF2-40B4-BE49-F238E27FC236}">
                      <a16:creationId xmlns:a16="http://schemas.microsoft.com/office/drawing/2014/main" id="{AF9CF573-36EA-2F69-140C-3E407A751120}"/>
                    </a:ext>
                  </a:extLst>
                </p:cNvPr>
                <p:cNvSpPr/>
                <p:nvPr/>
              </p:nvSpPr>
              <p:spPr>
                <a:xfrm>
                  <a:off x="3996624" y="2164170"/>
                  <a:ext cx="1775631" cy="1525221"/>
                </a:xfrm>
                <a:custGeom>
                  <a:avLst/>
                  <a:gdLst>
                    <a:gd name="connsiteX0" fmla="*/ 1606286 w 1775631"/>
                    <a:gd name="connsiteY0" fmla="*/ 227645 h 1525221"/>
                    <a:gd name="connsiteX1" fmla="*/ 1560757 w 1775631"/>
                    <a:gd name="connsiteY1" fmla="*/ 273174 h 1525221"/>
                    <a:gd name="connsiteX2" fmla="*/ 1730102 w 1775631"/>
                    <a:gd name="connsiteY2" fmla="*/ 273174 h 1525221"/>
                    <a:gd name="connsiteX3" fmla="*/ 1730102 w 1775631"/>
                    <a:gd name="connsiteY3" fmla="*/ 1479693 h 1525221"/>
                    <a:gd name="connsiteX4" fmla="*/ 270670 w 1775631"/>
                    <a:gd name="connsiteY4" fmla="*/ 1479693 h 1525221"/>
                    <a:gd name="connsiteX5" fmla="*/ 316882 w 1775631"/>
                    <a:gd name="connsiteY5" fmla="*/ 1388635 h 1525221"/>
                    <a:gd name="connsiteX6" fmla="*/ 318703 w 1775631"/>
                    <a:gd name="connsiteY6" fmla="*/ 1365870 h 1525221"/>
                    <a:gd name="connsiteX7" fmla="*/ 318703 w 1775631"/>
                    <a:gd name="connsiteY7" fmla="*/ 273174 h 1525221"/>
                    <a:gd name="connsiteX8" fmla="*/ 1080813 w 1775631"/>
                    <a:gd name="connsiteY8" fmla="*/ 273174 h 1525221"/>
                    <a:gd name="connsiteX9" fmla="*/ 1126342 w 1775631"/>
                    <a:gd name="connsiteY9" fmla="*/ 227645 h 1525221"/>
                    <a:gd name="connsiteX10" fmla="*/ 318703 w 1775631"/>
                    <a:gd name="connsiteY10" fmla="*/ 227645 h 1525221"/>
                    <a:gd name="connsiteX11" fmla="*/ 318703 w 1775631"/>
                    <a:gd name="connsiteY11" fmla="*/ 159352 h 1525221"/>
                    <a:gd name="connsiteX12" fmla="*/ 159352 w 1775631"/>
                    <a:gd name="connsiteY12" fmla="*/ 0 h 1525221"/>
                    <a:gd name="connsiteX13" fmla="*/ 0 w 1775631"/>
                    <a:gd name="connsiteY13" fmla="*/ 159352 h 1525221"/>
                    <a:gd name="connsiteX14" fmla="*/ 0 w 1775631"/>
                    <a:gd name="connsiteY14" fmla="*/ 1365870 h 1525221"/>
                    <a:gd name="connsiteX15" fmla="*/ 1821 w 1775631"/>
                    <a:gd name="connsiteY15" fmla="*/ 1388635 h 1525221"/>
                    <a:gd name="connsiteX16" fmla="*/ 149244 w 1775631"/>
                    <a:gd name="connsiteY16" fmla="*/ 1524607 h 1525221"/>
                    <a:gd name="connsiteX17" fmla="*/ 1775631 w 1775631"/>
                    <a:gd name="connsiteY17" fmla="*/ 1525222 h 1525221"/>
                    <a:gd name="connsiteX18" fmla="*/ 1775631 w 1775631"/>
                    <a:gd name="connsiteY18" fmla="*/ 227645 h 1525221"/>
                    <a:gd name="connsiteX19" fmla="*/ 45529 w 1775631"/>
                    <a:gd name="connsiteY19" fmla="*/ 159352 h 1525221"/>
                    <a:gd name="connsiteX20" fmla="*/ 159352 w 1775631"/>
                    <a:gd name="connsiteY20" fmla="*/ 45529 h 1525221"/>
                    <a:gd name="connsiteX21" fmla="*/ 273174 w 1775631"/>
                    <a:gd name="connsiteY21" fmla="*/ 159352 h 1525221"/>
                    <a:gd name="connsiteX22" fmla="*/ 273174 w 1775631"/>
                    <a:gd name="connsiteY22" fmla="*/ 1254552 h 1525221"/>
                    <a:gd name="connsiteX23" fmla="*/ 48513 w 1775631"/>
                    <a:gd name="connsiteY23" fmla="*/ 1251567 h 1525221"/>
                    <a:gd name="connsiteX24" fmla="*/ 45529 w 1775631"/>
                    <a:gd name="connsiteY24" fmla="*/ 1254552 h 1525221"/>
                    <a:gd name="connsiteX25" fmla="*/ 45529 w 1775631"/>
                    <a:gd name="connsiteY25" fmla="*/ 1365870 h 1525221"/>
                    <a:gd name="connsiteX26" fmla="*/ 159352 w 1775631"/>
                    <a:gd name="connsiteY26" fmla="*/ 1252048 h 1525221"/>
                    <a:gd name="connsiteX27" fmla="*/ 273174 w 1775631"/>
                    <a:gd name="connsiteY27" fmla="*/ 1365870 h 1525221"/>
                    <a:gd name="connsiteX28" fmla="*/ 159352 w 1775631"/>
                    <a:gd name="connsiteY28" fmla="*/ 1479693 h 1525221"/>
                    <a:gd name="connsiteX29" fmla="*/ 45529 w 1775631"/>
                    <a:gd name="connsiteY29" fmla="*/ 1365870 h 15252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775631" h="1525221">
                      <a:moveTo>
                        <a:pt x="1606286" y="227645"/>
                      </a:moveTo>
                      <a:lnTo>
                        <a:pt x="1560757" y="273174"/>
                      </a:lnTo>
                      <a:lnTo>
                        <a:pt x="1730102" y="273174"/>
                      </a:lnTo>
                      <a:lnTo>
                        <a:pt x="1730102" y="1479693"/>
                      </a:lnTo>
                      <a:lnTo>
                        <a:pt x="270670" y="1479693"/>
                      </a:lnTo>
                      <a:cubicBezTo>
                        <a:pt x="295668" y="1455248"/>
                        <a:pt x="311910" y="1423244"/>
                        <a:pt x="316882" y="1388635"/>
                      </a:cubicBezTo>
                      <a:lnTo>
                        <a:pt x="318703" y="1365870"/>
                      </a:lnTo>
                      <a:lnTo>
                        <a:pt x="318703" y="273174"/>
                      </a:lnTo>
                      <a:lnTo>
                        <a:pt x="1080813" y="273174"/>
                      </a:lnTo>
                      <a:lnTo>
                        <a:pt x="1126342" y="227645"/>
                      </a:lnTo>
                      <a:lnTo>
                        <a:pt x="318703" y="227645"/>
                      </a:lnTo>
                      <a:lnTo>
                        <a:pt x="318703" y="159352"/>
                      </a:lnTo>
                      <a:cubicBezTo>
                        <a:pt x="318703" y="71344"/>
                        <a:pt x="247359" y="0"/>
                        <a:pt x="159352" y="0"/>
                      </a:cubicBezTo>
                      <a:cubicBezTo>
                        <a:pt x="71344" y="0"/>
                        <a:pt x="0" y="71344"/>
                        <a:pt x="0" y="159352"/>
                      </a:cubicBezTo>
                      <a:lnTo>
                        <a:pt x="0" y="1365870"/>
                      </a:lnTo>
                      <a:lnTo>
                        <a:pt x="1821" y="1388635"/>
                      </a:lnTo>
                      <a:cubicBezTo>
                        <a:pt x="12703" y="1463077"/>
                        <a:pt x="74167" y="1519767"/>
                        <a:pt x="149244" y="1524607"/>
                      </a:cubicBezTo>
                      <a:lnTo>
                        <a:pt x="1775631" y="1525222"/>
                      </a:lnTo>
                      <a:lnTo>
                        <a:pt x="1775631" y="227645"/>
                      </a:lnTo>
                      <a:close/>
                      <a:moveTo>
                        <a:pt x="45529" y="159352"/>
                      </a:moveTo>
                      <a:cubicBezTo>
                        <a:pt x="45529" y="96490"/>
                        <a:pt x="96490" y="45529"/>
                        <a:pt x="159352" y="45529"/>
                      </a:cubicBezTo>
                      <a:cubicBezTo>
                        <a:pt x="222213" y="45529"/>
                        <a:pt x="273174" y="96490"/>
                        <a:pt x="273174" y="159352"/>
                      </a:cubicBezTo>
                      <a:lnTo>
                        <a:pt x="273174" y="1254552"/>
                      </a:lnTo>
                      <a:cubicBezTo>
                        <a:pt x="211960" y="1191690"/>
                        <a:pt x="111375" y="1190354"/>
                        <a:pt x="48513" y="1251567"/>
                      </a:cubicBezTo>
                      <a:cubicBezTo>
                        <a:pt x="47505" y="1252548"/>
                        <a:pt x="46510" y="1253543"/>
                        <a:pt x="45529" y="1254552"/>
                      </a:cubicBezTo>
                      <a:close/>
                      <a:moveTo>
                        <a:pt x="45529" y="1365870"/>
                      </a:moveTo>
                      <a:cubicBezTo>
                        <a:pt x="45529" y="1303008"/>
                        <a:pt x="96490" y="1252048"/>
                        <a:pt x="159352" y="1252048"/>
                      </a:cubicBezTo>
                      <a:cubicBezTo>
                        <a:pt x="222213" y="1252048"/>
                        <a:pt x="273174" y="1303008"/>
                        <a:pt x="273174" y="1365870"/>
                      </a:cubicBezTo>
                      <a:cubicBezTo>
                        <a:pt x="273174" y="1428732"/>
                        <a:pt x="222213" y="1479693"/>
                        <a:pt x="159352" y="1479693"/>
                      </a:cubicBezTo>
                      <a:cubicBezTo>
                        <a:pt x="96519" y="1479617"/>
                        <a:pt x="45604" y="1428702"/>
                        <a:pt x="45529" y="1365870"/>
                      </a:cubicBezTo>
                      <a:close/>
                    </a:path>
                  </a:pathLst>
                </a:custGeom>
                <a:grpFill/>
                <a:ln w="227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44" name="Freihandform: Form 1143">
                  <a:extLst>
                    <a:ext uri="{FF2B5EF4-FFF2-40B4-BE49-F238E27FC236}">
                      <a16:creationId xmlns:a16="http://schemas.microsoft.com/office/drawing/2014/main" id="{230B24B9-5839-1C90-2F06-E854062F1113}"/>
                    </a:ext>
                  </a:extLst>
                </p:cNvPr>
                <p:cNvSpPr/>
                <p:nvPr/>
              </p:nvSpPr>
              <p:spPr>
                <a:xfrm>
                  <a:off x="4781999" y="2073160"/>
                  <a:ext cx="899199" cy="899217"/>
                </a:xfrm>
                <a:custGeom>
                  <a:avLst/>
                  <a:gdLst>
                    <a:gd name="connsiteX0" fmla="*/ 0 w 899199"/>
                    <a:gd name="connsiteY0" fmla="*/ 899218 h 899217"/>
                    <a:gd name="connsiteX1" fmla="*/ 214442 w 899199"/>
                    <a:gd name="connsiteY1" fmla="*/ 828489 h 899217"/>
                    <a:gd name="connsiteX2" fmla="*/ 884742 w 899199"/>
                    <a:gd name="connsiteY2" fmla="*/ 156003 h 899217"/>
                    <a:gd name="connsiteX3" fmla="*/ 888621 w 899199"/>
                    <a:gd name="connsiteY3" fmla="*/ 95988 h 899217"/>
                    <a:gd name="connsiteX4" fmla="*/ 885858 w 899199"/>
                    <a:gd name="connsiteY4" fmla="*/ 93127 h 899217"/>
                    <a:gd name="connsiteX5" fmla="*/ 806182 w 899199"/>
                    <a:gd name="connsiteY5" fmla="*/ 13451 h 899217"/>
                    <a:gd name="connsiteX6" fmla="*/ 742860 w 899199"/>
                    <a:gd name="connsiteY6" fmla="*/ 12782 h 899217"/>
                    <a:gd name="connsiteX7" fmla="*/ 742191 w 899199"/>
                    <a:gd name="connsiteY7" fmla="*/ 13451 h 899217"/>
                    <a:gd name="connsiteX8" fmla="*/ 70775 w 899199"/>
                    <a:gd name="connsiteY8" fmla="*/ 685915 h 899217"/>
                    <a:gd name="connsiteX9" fmla="*/ 774175 w 899199"/>
                    <a:gd name="connsiteY9" fmla="*/ 45822 h 899217"/>
                    <a:gd name="connsiteX10" fmla="*/ 852326 w 899199"/>
                    <a:gd name="connsiteY10" fmla="*/ 124018 h 899217"/>
                    <a:gd name="connsiteX11" fmla="*/ 782325 w 899199"/>
                    <a:gd name="connsiteY11" fmla="*/ 194019 h 899217"/>
                    <a:gd name="connsiteX12" fmla="*/ 704129 w 899199"/>
                    <a:gd name="connsiteY12" fmla="*/ 115823 h 899217"/>
                    <a:gd name="connsiteX13" fmla="*/ 664336 w 899199"/>
                    <a:gd name="connsiteY13" fmla="*/ 155638 h 899217"/>
                    <a:gd name="connsiteX14" fmla="*/ 671940 w 899199"/>
                    <a:gd name="connsiteY14" fmla="*/ 148012 h 899217"/>
                    <a:gd name="connsiteX15" fmla="*/ 750978 w 899199"/>
                    <a:gd name="connsiteY15" fmla="*/ 226982 h 899217"/>
                    <a:gd name="connsiteX16" fmla="*/ 743079 w 899199"/>
                    <a:gd name="connsiteY16" fmla="*/ 235451 h 899217"/>
                    <a:gd name="connsiteX17" fmla="*/ 250796 w 899199"/>
                    <a:gd name="connsiteY17" fmla="*/ 727801 h 899217"/>
                    <a:gd name="connsiteX18" fmla="*/ 171644 w 899199"/>
                    <a:gd name="connsiteY18" fmla="*/ 649309 h 899217"/>
                    <a:gd name="connsiteX19" fmla="*/ 110613 w 899199"/>
                    <a:gd name="connsiteY19" fmla="*/ 710455 h 899217"/>
                    <a:gd name="connsiteX20" fmla="*/ 119923 w 899199"/>
                    <a:gd name="connsiteY20" fmla="*/ 701121 h 899217"/>
                    <a:gd name="connsiteX21" fmla="*/ 150360 w 899199"/>
                    <a:gd name="connsiteY21" fmla="*/ 692516 h 899217"/>
                    <a:gd name="connsiteX22" fmla="*/ 190903 w 899199"/>
                    <a:gd name="connsiteY22" fmla="*/ 709499 h 899217"/>
                    <a:gd name="connsiteX23" fmla="*/ 197960 w 899199"/>
                    <a:gd name="connsiteY23" fmla="*/ 780638 h 899217"/>
                    <a:gd name="connsiteX24" fmla="*/ 189947 w 899199"/>
                    <a:gd name="connsiteY24" fmla="*/ 788651 h 899217"/>
                    <a:gd name="connsiteX25" fmla="*/ 94860 w 899199"/>
                    <a:gd name="connsiteY25" fmla="*/ 820020 h 899217"/>
                    <a:gd name="connsiteX26" fmla="*/ 79403 w 899199"/>
                    <a:gd name="connsiteY26" fmla="*/ 804563 h 8992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899199" h="899217">
                      <a:moveTo>
                        <a:pt x="0" y="899218"/>
                      </a:moveTo>
                      <a:lnTo>
                        <a:pt x="214442" y="828489"/>
                      </a:lnTo>
                      <a:lnTo>
                        <a:pt x="884742" y="156003"/>
                      </a:lnTo>
                      <a:cubicBezTo>
                        <a:pt x="902385" y="140502"/>
                        <a:pt x="904122" y="113633"/>
                        <a:pt x="888621" y="95988"/>
                      </a:cubicBezTo>
                      <a:cubicBezTo>
                        <a:pt x="887745" y="94994"/>
                        <a:pt x="886823" y="94038"/>
                        <a:pt x="885858" y="93127"/>
                      </a:cubicBezTo>
                      <a:lnTo>
                        <a:pt x="806182" y="13451"/>
                      </a:lnTo>
                      <a:cubicBezTo>
                        <a:pt x="788881" y="-4219"/>
                        <a:pt x="760530" y="-4519"/>
                        <a:pt x="742860" y="12782"/>
                      </a:cubicBezTo>
                      <a:cubicBezTo>
                        <a:pt x="742635" y="13003"/>
                        <a:pt x="742412" y="13226"/>
                        <a:pt x="742191" y="13451"/>
                      </a:cubicBezTo>
                      <a:lnTo>
                        <a:pt x="70775" y="685915"/>
                      </a:lnTo>
                      <a:close/>
                      <a:moveTo>
                        <a:pt x="774175" y="45822"/>
                      </a:moveTo>
                      <a:lnTo>
                        <a:pt x="852326" y="124018"/>
                      </a:lnTo>
                      <a:lnTo>
                        <a:pt x="782325" y="194019"/>
                      </a:lnTo>
                      <a:lnTo>
                        <a:pt x="704129" y="115823"/>
                      </a:lnTo>
                      <a:close/>
                      <a:moveTo>
                        <a:pt x="664336" y="155638"/>
                      </a:moveTo>
                      <a:lnTo>
                        <a:pt x="671940" y="148012"/>
                      </a:lnTo>
                      <a:lnTo>
                        <a:pt x="750978" y="226982"/>
                      </a:lnTo>
                      <a:lnTo>
                        <a:pt x="743079" y="235451"/>
                      </a:lnTo>
                      <a:lnTo>
                        <a:pt x="250796" y="727801"/>
                      </a:lnTo>
                      <a:cubicBezTo>
                        <a:pt x="242066" y="688391"/>
                        <a:pt x="211127" y="657709"/>
                        <a:pt x="171644" y="649309"/>
                      </a:cubicBezTo>
                      <a:close/>
                      <a:moveTo>
                        <a:pt x="110613" y="710455"/>
                      </a:moveTo>
                      <a:lnTo>
                        <a:pt x="119923" y="701121"/>
                      </a:lnTo>
                      <a:cubicBezTo>
                        <a:pt x="129100" y="695546"/>
                        <a:pt x="139622" y="692571"/>
                        <a:pt x="150360" y="692516"/>
                      </a:cubicBezTo>
                      <a:cubicBezTo>
                        <a:pt x="165603" y="692519"/>
                        <a:pt x="180208" y="698638"/>
                        <a:pt x="190903" y="709499"/>
                      </a:cubicBezTo>
                      <a:cubicBezTo>
                        <a:pt x="210301" y="728311"/>
                        <a:pt x="213285" y="758381"/>
                        <a:pt x="197960" y="780638"/>
                      </a:cubicBezTo>
                      <a:lnTo>
                        <a:pt x="189947" y="788651"/>
                      </a:lnTo>
                      <a:lnTo>
                        <a:pt x="94860" y="820020"/>
                      </a:lnTo>
                      <a:lnTo>
                        <a:pt x="79403" y="804563"/>
                      </a:lnTo>
                      <a:close/>
                    </a:path>
                  </a:pathLst>
                </a:custGeom>
                <a:grpFill/>
                <a:ln w="227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pic>
            <p:nvPicPr>
              <p:cNvPr id="1130" name="Grafik 1129" descr="Fabrik Silhouette">
                <a:extLst>
                  <a:ext uri="{FF2B5EF4-FFF2-40B4-BE49-F238E27FC236}">
                    <a16:creationId xmlns:a16="http://schemas.microsoft.com/office/drawing/2014/main" id="{1B0B5908-4250-1AC7-28BE-472F8F4815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4368770" y="2442300"/>
                <a:ext cx="1236817" cy="1236817"/>
              </a:xfrm>
              <a:prstGeom prst="rect">
                <a:avLst/>
              </a:prstGeom>
            </p:spPr>
          </p:pic>
        </p:grpSp>
      </p:grp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11C5792-36CC-3E61-F723-A82CFBA9CB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</a:p>
        </p:txBody>
      </p:sp>
    </p:spTree>
    <p:extLst>
      <p:ext uri="{BB962C8B-B14F-4D97-AF65-F5344CB8AC3E}">
        <p14:creationId xmlns:p14="http://schemas.microsoft.com/office/powerpoint/2010/main" val="19279306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7" grpId="0"/>
      <p:bldP spid="38" grpId="0"/>
      <p:bldP spid="40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9573B70-33E1-1ED4-10D9-FC872DE553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573B70-33E1-1ED4-10D9-FC872DE553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A6E685B-EE9E-D520-DE20-8ADDA1734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IBRAG Energy Group</a:t>
            </a:r>
            <a:br>
              <a:rPr lang="de-DE"/>
            </a:br>
            <a:r>
              <a:rPr lang="de-DE"/>
              <a:t>Windenergie-Projekt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645EFA-2EA4-FF42-5448-CA13E5B46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1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2C6CE44-5109-1C2A-6862-0AE3DDFB9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12</a:t>
            </a:fld>
            <a:endParaRPr lang="de-DE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8CD43CD-5E3F-9C14-F201-8DCC6F8D752B}"/>
              </a:ext>
            </a:extLst>
          </p:cNvPr>
          <p:cNvGrpSpPr/>
          <p:nvPr/>
        </p:nvGrpSpPr>
        <p:grpSpPr>
          <a:xfrm>
            <a:off x="396000" y="1612001"/>
            <a:ext cx="1332000" cy="1332000"/>
            <a:chOff x="2043895" y="4399166"/>
            <a:chExt cx="1332000" cy="1332000"/>
          </a:xfrm>
        </p:grpSpPr>
        <p:sp>
          <p:nvSpPr>
            <p:cNvPr id="14" name="Graphic 8">
              <a:extLst>
                <a:ext uri="{FF2B5EF4-FFF2-40B4-BE49-F238E27FC236}">
                  <a16:creationId xmlns:a16="http://schemas.microsoft.com/office/drawing/2014/main" id="{6D8C5E0E-323B-3476-8025-2486E5A1DBA4}"/>
                </a:ext>
              </a:extLst>
            </p:cNvPr>
            <p:cNvSpPr/>
            <p:nvPr/>
          </p:nvSpPr>
          <p:spPr>
            <a:xfrm>
              <a:off x="2043895" y="4399166"/>
              <a:ext cx="1332000" cy="1332000"/>
            </a:xfrm>
            <a:custGeom>
              <a:avLst/>
              <a:gdLst>
                <a:gd name="connsiteX0" fmla="*/ 749311 w 749310"/>
                <a:gd name="connsiteY0" fmla="*/ 214804 h 858552"/>
                <a:gd name="connsiteX1" fmla="*/ 374655 w 749310"/>
                <a:gd name="connsiteY1" fmla="*/ 0 h 858552"/>
                <a:gd name="connsiteX2" fmla="*/ 0 w 749310"/>
                <a:gd name="connsiteY2" fmla="*/ 214804 h 858552"/>
                <a:gd name="connsiteX3" fmla="*/ 0 w 749310"/>
                <a:gd name="connsiteY3" fmla="*/ 643748 h 858552"/>
                <a:gd name="connsiteX4" fmla="*/ 374655 w 749310"/>
                <a:gd name="connsiteY4" fmla="*/ 858552 h 858552"/>
                <a:gd name="connsiteX5" fmla="*/ 749311 w 749310"/>
                <a:gd name="connsiteY5" fmla="*/ 643748 h 858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9310" h="858552">
                  <a:moveTo>
                    <a:pt x="749311" y="214804"/>
                  </a:moveTo>
                  <a:lnTo>
                    <a:pt x="374655" y="0"/>
                  </a:lnTo>
                  <a:lnTo>
                    <a:pt x="0" y="214804"/>
                  </a:lnTo>
                  <a:lnTo>
                    <a:pt x="0" y="643748"/>
                  </a:lnTo>
                  <a:lnTo>
                    <a:pt x="374655" y="858552"/>
                  </a:lnTo>
                  <a:lnTo>
                    <a:pt x="749311" y="643748"/>
                  </a:lnTo>
                  <a:close/>
                </a:path>
              </a:pathLst>
            </a:custGeom>
            <a:noFill/>
            <a:ln w="6633" cap="flat">
              <a:solidFill>
                <a:srgbClr val="7AB5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BR"/>
            </a:p>
          </p:txBody>
        </p:sp>
        <p:pic>
          <p:nvPicPr>
            <p:cNvPr id="15" name="Grafik 14" descr="Windkraftanlagen mit einfarbiger Füllung">
              <a:extLst>
                <a:ext uri="{FF2B5EF4-FFF2-40B4-BE49-F238E27FC236}">
                  <a16:creationId xmlns:a16="http://schemas.microsoft.com/office/drawing/2014/main" id="{CEF38F38-EFD5-8CF3-C7C6-542EA0F4742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flipH="1">
              <a:off x="2156497" y="4688384"/>
              <a:ext cx="445353" cy="49790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" name="Grafik 15" descr="Solarmodule mit einfarbiger Füllung">
              <a:extLst>
                <a:ext uri="{FF2B5EF4-FFF2-40B4-BE49-F238E27FC236}">
                  <a16:creationId xmlns:a16="http://schemas.microsoft.com/office/drawing/2014/main" id="{167F32CA-3FE0-E00F-7A46-CA4A105B8CCB}"/>
                </a:ext>
              </a:extLst>
            </p:cNvPr>
            <p:cNvPicPr>
              <a:picLocks/>
            </p:cNvPicPr>
            <p:nvPr/>
          </p:nvPicPr>
          <p:blipFill rotWithShape="1"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9442" t="26769"/>
            <a:stretch/>
          </p:blipFill>
          <p:spPr>
            <a:xfrm flipH="1">
              <a:off x="2737772" y="4669166"/>
              <a:ext cx="438004" cy="396000"/>
            </a:xfrm>
            <a:prstGeom prst="trapezoid">
              <a:avLst/>
            </a:prstGeom>
            <a:noFill/>
            <a:ln>
              <a:noFill/>
            </a:ln>
          </p:spPr>
        </p:pic>
        <p:pic>
          <p:nvPicPr>
            <p:cNvPr id="17" name="Grafik 16" descr="Kraftstoff mit einfarbiger Füllung">
              <a:extLst>
                <a:ext uri="{FF2B5EF4-FFF2-40B4-BE49-F238E27FC236}">
                  <a16:creationId xmlns:a16="http://schemas.microsoft.com/office/drawing/2014/main" id="{E4817B47-9CFD-98AD-9A02-3D2FE17BF9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545365" y="5029068"/>
              <a:ext cx="522230" cy="522230"/>
            </a:xfrm>
            <a:prstGeom prst="rect">
              <a:avLst/>
            </a:prstGeom>
          </p:spPr>
        </p:pic>
      </p:grp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52329ED3-61C4-9871-BCEF-1D2637E9DD31}"/>
              </a:ext>
            </a:extLst>
          </p:cNvPr>
          <p:cNvCxnSpPr/>
          <p:nvPr/>
        </p:nvCxnSpPr>
        <p:spPr>
          <a:xfrm>
            <a:off x="1919536" y="1389808"/>
            <a:ext cx="0" cy="378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4080CC8A-A0BD-E970-524B-C8349A4060A3}"/>
              </a:ext>
            </a:extLst>
          </p:cNvPr>
          <p:cNvCxnSpPr/>
          <p:nvPr/>
        </p:nvCxnSpPr>
        <p:spPr>
          <a:xfrm>
            <a:off x="6205289" y="1403984"/>
            <a:ext cx="0" cy="378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7B746351-290B-B83C-FD10-2209F316F06E}"/>
              </a:ext>
            </a:extLst>
          </p:cNvPr>
          <p:cNvSpPr txBox="1"/>
          <p:nvPr/>
        </p:nvSpPr>
        <p:spPr>
          <a:xfrm>
            <a:off x="2207568" y="1412776"/>
            <a:ext cx="360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FC694CC-B96F-0C51-7B8A-E3B540779854}"/>
              </a:ext>
            </a:extLst>
          </p:cNvPr>
          <p:cNvSpPr txBox="1"/>
          <p:nvPr/>
        </p:nvSpPr>
        <p:spPr>
          <a:xfrm>
            <a:off x="2036277" y="1340574"/>
            <a:ext cx="2519902" cy="33958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  <a:buClr>
                <a:schemeClr val="accent1"/>
              </a:buClr>
            </a:pPr>
            <a:r>
              <a:rPr lang="de-DE" sz="1600" b="1"/>
              <a:t>Wind – Projekte</a:t>
            </a:r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/>
              <a:t>WP Profen II</a:t>
            </a:r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/>
              <a:t>WP </a:t>
            </a:r>
            <a:r>
              <a:rPr lang="de-DE" sz="1600" err="1"/>
              <a:t>Breunsdorf</a:t>
            </a:r>
            <a:endParaRPr lang="de-DE" sz="1600"/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/>
              <a:t>WP Helmstedt</a:t>
            </a:r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/>
              <a:t>WP Treue I  </a:t>
            </a:r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/>
              <a:t>WP Treue II</a:t>
            </a:r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/>
              <a:t>Wind </a:t>
            </a:r>
            <a:r>
              <a:rPr lang="de-DE" sz="1600" err="1"/>
              <a:t>Repowering</a:t>
            </a:r>
            <a:r>
              <a:rPr lang="de-DE" sz="1600"/>
              <a:t> I</a:t>
            </a:r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/>
              <a:t>Wind </a:t>
            </a:r>
            <a:r>
              <a:rPr lang="de-DE" sz="1600" err="1"/>
              <a:t>Repowering</a:t>
            </a:r>
            <a:r>
              <a:rPr lang="de-DE" sz="1600"/>
              <a:t> II</a:t>
            </a:r>
            <a:endParaRPr lang="de-DE" sz="180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273CB0C9-71F2-DD58-2C9C-A8ED8B4BA885}"/>
              </a:ext>
            </a:extLst>
          </p:cNvPr>
          <p:cNvCxnSpPr/>
          <p:nvPr/>
        </p:nvCxnSpPr>
        <p:spPr>
          <a:xfrm>
            <a:off x="4439816" y="1388801"/>
            <a:ext cx="0" cy="378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88E0A018-123E-BAB3-2DBF-1FF25374A7B2}"/>
              </a:ext>
            </a:extLst>
          </p:cNvPr>
          <p:cNvSpPr txBox="1"/>
          <p:nvPr/>
        </p:nvSpPr>
        <p:spPr>
          <a:xfrm>
            <a:off x="6351219" y="1388801"/>
            <a:ext cx="2725275" cy="33958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800"/>
              </a:spcAft>
            </a:pPr>
            <a:r>
              <a:rPr lang="de-DE" sz="1600" b="1" dirty="0"/>
              <a:t>Inbetriebnahme*</a:t>
            </a:r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025</a:t>
            </a:r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025</a:t>
            </a:r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025</a:t>
            </a:r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029</a:t>
            </a:r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029</a:t>
            </a:r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029	</a:t>
            </a:r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029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12A9D4C-5B6F-3726-7506-94280FE3BD08}"/>
              </a:ext>
            </a:extLst>
          </p:cNvPr>
          <p:cNvSpPr txBox="1"/>
          <p:nvPr/>
        </p:nvSpPr>
        <p:spPr>
          <a:xfrm>
            <a:off x="4686901" y="1336777"/>
            <a:ext cx="1372459" cy="47500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800"/>
              </a:spcAft>
            </a:pPr>
            <a:r>
              <a:rPr lang="de-DE" sz="1600" b="1" dirty="0"/>
              <a:t>Leistung</a:t>
            </a:r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60 MW</a:t>
            </a:r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90 MW</a:t>
            </a:r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13 MW</a:t>
            </a:r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77 MW</a:t>
            </a:r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14 MW</a:t>
            </a:r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14 MW</a:t>
            </a:r>
          </a:p>
          <a:p>
            <a:pPr marL="285750" indent="-285750">
              <a:spcAft>
                <a:spcPts val="1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1 MW</a:t>
            </a:r>
          </a:p>
          <a:p>
            <a:pPr>
              <a:spcAft>
                <a:spcPts val="1600"/>
              </a:spcAft>
              <a:buClr>
                <a:schemeClr val="accent1"/>
              </a:buClr>
            </a:pPr>
            <a:r>
              <a:rPr lang="de-DE" sz="1600" dirty="0"/>
              <a:t>__________</a:t>
            </a:r>
          </a:p>
          <a:p>
            <a:pPr>
              <a:spcAft>
                <a:spcPts val="1600"/>
              </a:spcAft>
              <a:buClr>
                <a:schemeClr val="accent1"/>
              </a:buClr>
            </a:pPr>
            <a:r>
              <a:rPr lang="de-DE" sz="1600" b="1" dirty="0"/>
              <a:t>∑ 289 MW</a:t>
            </a:r>
          </a:p>
          <a:p>
            <a:endParaRPr lang="de-DE" sz="1600" b="1" dirty="0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1A7AA857-864B-0978-4A19-3B465E789B7D}"/>
              </a:ext>
            </a:extLst>
          </p:cNvPr>
          <p:cNvCxnSpPr/>
          <p:nvPr/>
        </p:nvCxnSpPr>
        <p:spPr>
          <a:xfrm>
            <a:off x="8375802" y="1408514"/>
            <a:ext cx="0" cy="3780000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31BB9C05-3CB9-C44D-9387-132EC0C9008A}"/>
              </a:ext>
            </a:extLst>
          </p:cNvPr>
          <p:cNvGrpSpPr/>
          <p:nvPr/>
        </p:nvGrpSpPr>
        <p:grpSpPr>
          <a:xfrm>
            <a:off x="661649" y="3985283"/>
            <a:ext cx="735379" cy="718607"/>
            <a:chOff x="1484670" y="2694817"/>
            <a:chExt cx="735379" cy="718607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8CF65604-F1C6-27FE-984A-38D8A53E2004}"/>
                </a:ext>
              </a:extLst>
            </p:cNvPr>
            <p:cNvGrpSpPr/>
            <p:nvPr/>
          </p:nvGrpSpPr>
          <p:grpSpPr>
            <a:xfrm>
              <a:off x="1484670" y="2694817"/>
              <a:ext cx="375547" cy="614597"/>
              <a:chOff x="9870656" y="4436810"/>
              <a:chExt cx="1113505" cy="1822293"/>
            </a:xfrm>
          </p:grpSpPr>
          <p:sp>
            <p:nvSpPr>
              <p:cNvPr id="36" name="Freihandform 78">
                <a:extLst>
                  <a:ext uri="{FF2B5EF4-FFF2-40B4-BE49-F238E27FC236}">
                    <a16:creationId xmlns:a16="http://schemas.microsoft.com/office/drawing/2014/main" id="{59F8A0E2-7F06-4E1C-BA06-63BD31778BD1}"/>
                  </a:ext>
                </a:extLst>
              </p:cNvPr>
              <p:cNvSpPr/>
              <p:nvPr/>
            </p:nvSpPr>
            <p:spPr>
              <a:xfrm>
                <a:off x="9870656" y="4614668"/>
                <a:ext cx="1113505" cy="1644435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37" name="Gruppieren 36">
                <a:extLst>
                  <a:ext uri="{FF2B5EF4-FFF2-40B4-BE49-F238E27FC236}">
                    <a16:creationId xmlns:a16="http://schemas.microsoft.com/office/drawing/2014/main" id="{B53B927C-8587-EB8C-E3A8-08778E1CE85B}"/>
                  </a:ext>
                </a:extLst>
              </p:cNvPr>
              <p:cNvGrpSpPr/>
              <p:nvPr/>
            </p:nvGrpSpPr>
            <p:grpSpPr>
              <a:xfrm>
                <a:off x="9902047" y="4436810"/>
                <a:ext cx="1043721" cy="546975"/>
                <a:chOff x="8472264" y="2426134"/>
                <a:chExt cx="1043721" cy="546975"/>
              </a:xfrm>
            </p:grpSpPr>
            <p:sp>
              <p:nvSpPr>
                <p:cNvPr id="38" name="Freihandform: Form 37">
                  <a:extLst>
                    <a:ext uri="{FF2B5EF4-FFF2-40B4-BE49-F238E27FC236}">
                      <a16:creationId xmlns:a16="http://schemas.microsoft.com/office/drawing/2014/main" id="{E1F1F48E-6A85-3D41-75FF-B65C0F144AD5}"/>
                    </a:ext>
                  </a:extLst>
                </p:cNvPr>
                <p:cNvSpPr/>
                <p:nvPr/>
              </p:nvSpPr>
              <p:spPr>
                <a:xfrm>
                  <a:off x="8599858" y="2459698"/>
                  <a:ext cx="792088" cy="470009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9" name="Freihandform: Form 38" descr="Bauarbeiter Silhouette">
                  <a:extLst>
                    <a:ext uri="{FF2B5EF4-FFF2-40B4-BE49-F238E27FC236}">
                      <a16:creationId xmlns:a16="http://schemas.microsoft.com/office/drawing/2014/main" id="{8AD81CA9-4DD3-B02B-0191-2A6E91DD747E}"/>
                    </a:ext>
                  </a:extLst>
                </p:cNvPr>
                <p:cNvSpPr/>
                <p:nvPr/>
              </p:nvSpPr>
              <p:spPr>
                <a:xfrm>
                  <a:off x="8472264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8F8C2BA2-A6F8-DD03-164C-BE24FDC5B88D}"/>
                </a:ext>
              </a:extLst>
            </p:cNvPr>
            <p:cNvGrpSpPr/>
            <p:nvPr/>
          </p:nvGrpSpPr>
          <p:grpSpPr>
            <a:xfrm>
              <a:off x="1909967" y="2887862"/>
              <a:ext cx="310082" cy="525562"/>
              <a:chOff x="11067982" y="4739041"/>
              <a:chExt cx="783930" cy="1328694"/>
            </a:xfrm>
          </p:grpSpPr>
          <p:sp>
            <p:nvSpPr>
              <p:cNvPr id="23" name="Freihandform 76">
                <a:extLst>
                  <a:ext uri="{FF2B5EF4-FFF2-40B4-BE49-F238E27FC236}">
                    <a16:creationId xmlns:a16="http://schemas.microsoft.com/office/drawing/2014/main" id="{F88F593C-EF9C-E1D2-EF5E-C9290195AC8B}"/>
                  </a:ext>
                </a:extLst>
              </p:cNvPr>
              <p:cNvSpPr/>
              <p:nvPr/>
            </p:nvSpPr>
            <p:spPr>
              <a:xfrm>
                <a:off x="11067982" y="4910022"/>
                <a:ext cx="783930" cy="1157713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33" name="Gruppieren 32">
                <a:extLst>
                  <a:ext uri="{FF2B5EF4-FFF2-40B4-BE49-F238E27FC236}">
                    <a16:creationId xmlns:a16="http://schemas.microsoft.com/office/drawing/2014/main" id="{6FEB44C0-0C16-A22B-420E-CDD937D8D184}"/>
                  </a:ext>
                </a:extLst>
              </p:cNvPr>
              <p:cNvGrpSpPr/>
              <p:nvPr/>
            </p:nvGrpSpPr>
            <p:grpSpPr>
              <a:xfrm>
                <a:off x="11078280" y="4739041"/>
                <a:ext cx="768383" cy="402681"/>
                <a:chOff x="9650969" y="2426134"/>
                <a:chExt cx="1043720" cy="546975"/>
              </a:xfrm>
            </p:grpSpPr>
            <p:sp>
              <p:nvSpPr>
                <p:cNvPr id="34" name="Freihandform: Form 33">
                  <a:extLst>
                    <a:ext uri="{FF2B5EF4-FFF2-40B4-BE49-F238E27FC236}">
                      <a16:creationId xmlns:a16="http://schemas.microsoft.com/office/drawing/2014/main" id="{7D9DF2C2-AFAF-A164-63EB-65BDEF04998E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5" name="Freihandform: Form 34" descr="Bauarbeiter Silhouette">
                  <a:extLst>
                    <a:ext uri="{FF2B5EF4-FFF2-40B4-BE49-F238E27FC236}">
                      <a16:creationId xmlns:a16="http://schemas.microsoft.com/office/drawing/2014/main" id="{0A7FD60B-1D7F-0CB1-9B56-55B2B1DFAA48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41" name="Textfeld 40">
            <a:extLst>
              <a:ext uri="{FF2B5EF4-FFF2-40B4-BE49-F238E27FC236}">
                <a16:creationId xmlns:a16="http://schemas.microsoft.com/office/drawing/2014/main" id="{1E80393E-2334-D99C-06D8-8AA939F37154}"/>
              </a:ext>
            </a:extLst>
          </p:cNvPr>
          <p:cNvSpPr txBox="1"/>
          <p:nvPr/>
        </p:nvSpPr>
        <p:spPr>
          <a:xfrm>
            <a:off x="10147223" y="6325823"/>
            <a:ext cx="18815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/>
              <a:t>*Planungsstand 10/2023</a:t>
            </a:r>
          </a:p>
        </p:txBody>
      </p:sp>
      <p:sp>
        <p:nvSpPr>
          <p:cNvPr id="24" name="Fußzeilenplatzhalter 23">
            <a:extLst>
              <a:ext uri="{FF2B5EF4-FFF2-40B4-BE49-F238E27FC236}">
                <a16:creationId xmlns:a16="http://schemas.microsoft.com/office/drawing/2014/main" id="{6E2D8015-5B3B-5EB5-D3DC-9979243A37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</a:p>
        </p:txBody>
      </p:sp>
    </p:spTree>
    <p:extLst>
      <p:ext uri="{BB962C8B-B14F-4D97-AF65-F5344CB8AC3E}">
        <p14:creationId xmlns:p14="http://schemas.microsoft.com/office/powerpoint/2010/main" val="2823221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9573B70-33E1-1ED4-10D9-FC872DE553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573B70-33E1-1ED4-10D9-FC872DE553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A6E685B-EE9E-D520-DE20-8ADDA1734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IBRAG Energy Group</a:t>
            </a:r>
            <a:br>
              <a:rPr lang="de-DE"/>
            </a:br>
            <a:r>
              <a:rPr lang="de-DE"/>
              <a:t>PV-Projekt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645EFA-2EA4-FF42-5448-CA13E5B46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1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2C6CE44-5109-1C2A-6862-0AE3DDFB9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13</a:t>
            </a:fld>
            <a:endParaRPr lang="de-DE"/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52329ED3-61C4-9871-BCEF-1D2637E9DD31}"/>
              </a:ext>
            </a:extLst>
          </p:cNvPr>
          <p:cNvCxnSpPr/>
          <p:nvPr/>
        </p:nvCxnSpPr>
        <p:spPr>
          <a:xfrm>
            <a:off x="1919536" y="1313904"/>
            <a:ext cx="0" cy="52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7B746351-290B-B83C-FD10-2209F316F06E}"/>
              </a:ext>
            </a:extLst>
          </p:cNvPr>
          <p:cNvSpPr txBox="1"/>
          <p:nvPr/>
        </p:nvSpPr>
        <p:spPr>
          <a:xfrm>
            <a:off x="2207568" y="1412776"/>
            <a:ext cx="360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/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24F54037-94D3-E99D-F9FE-8766A2C41417}"/>
              </a:ext>
            </a:extLst>
          </p:cNvPr>
          <p:cNvSpPr txBox="1"/>
          <p:nvPr/>
        </p:nvSpPr>
        <p:spPr>
          <a:xfrm>
            <a:off x="2031125" y="1233680"/>
            <a:ext cx="2519902" cy="58272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  <a:buClr>
                <a:schemeClr val="accent1"/>
              </a:buClr>
            </a:pPr>
            <a:r>
              <a:rPr lang="de-DE" sz="1600" b="1"/>
              <a:t>Solar– Projekte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/>
              <a:t>PV Peres I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/>
              <a:t>PV Peres II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/>
              <a:t>PV Peres III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/>
              <a:t>PV Schöningen Nord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/>
              <a:t>PV Schöningen Süd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/>
              <a:t>PV </a:t>
            </a:r>
            <a:r>
              <a:rPr lang="de-DE" sz="1600" err="1"/>
              <a:t>Alversdorf</a:t>
            </a:r>
            <a:endParaRPr lang="de-DE" sz="1600"/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/>
              <a:t>PV Wiese Theißen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/>
              <a:t>PV </a:t>
            </a:r>
            <a:r>
              <a:rPr lang="de-DE" sz="1600" err="1"/>
              <a:t>Norgam</a:t>
            </a:r>
            <a:endParaRPr lang="de-DE" sz="1600"/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/>
              <a:t>PV Luckenau-Ost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/>
              <a:t>PV Treue I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/>
              <a:t>PV Treue II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/>
              <a:t>PV </a:t>
            </a:r>
            <a:r>
              <a:rPr lang="de-DE" sz="1600" err="1"/>
              <a:t>Offleben</a:t>
            </a:r>
            <a:r>
              <a:rPr lang="de-DE" sz="1600"/>
              <a:t> </a:t>
            </a:r>
          </a:p>
          <a:p>
            <a:pPr marL="285750" indent="-285750">
              <a:spcAft>
                <a:spcPts val="1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80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9B998F8C-AAF7-8D05-3135-A5ABBE513DE1}"/>
              </a:ext>
            </a:extLst>
          </p:cNvPr>
          <p:cNvCxnSpPr/>
          <p:nvPr/>
        </p:nvCxnSpPr>
        <p:spPr>
          <a:xfrm>
            <a:off x="4439816" y="1321689"/>
            <a:ext cx="0" cy="52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96B6583B-D35A-A0F2-DEAB-4BC2273C7983}"/>
              </a:ext>
            </a:extLst>
          </p:cNvPr>
          <p:cNvSpPr txBox="1"/>
          <p:nvPr/>
        </p:nvSpPr>
        <p:spPr>
          <a:xfrm>
            <a:off x="4709123" y="1219524"/>
            <a:ext cx="1313095" cy="53707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800"/>
              </a:spcAft>
            </a:pPr>
            <a:r>
              <a:rPr lang="de-DE" sz="1600" b="1" dirty="0"/>
              <a:t>Leistung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  43 MW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  37 MW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15 MW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  68 MW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  46 MW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  20</a:t>
            </a:r>
            <a:r>
              <a:rPr lang="de-DE" sz="1600" b="1" dirty="0"/>
              <a:t> </a:t>
            </a:r>
            <a:r>
              <a:rPr lang="de-DE" sz="1600" dirty="0"/>
              <a:t>MW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    1 MW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  58 MW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  10 MW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114 MW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  25 MW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    9 MW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51412D25-F4E2-6ED7-3AE0-D9D102A5A060}"/>
              </a:ext>
            </a:extLst>
          </p:cNvPr>
          <p:cNvGrpSpPr/>
          <p:nvPr/>
        </p:nvGrpSpPr>
        <p:grpSpPr>
          <a:xfrm>
            <a:off x="396000" y="1612001"/>
            <a:ext cx="1332000" cy="1332000"/>
            <a:chOff x="2043895" y="4399166"/>
            <a:chExt cx="1332000" cy="1332000"/>
          </a:xfrm>
        </p:grpSpPr>
        <p:sp>
          <p:nvSpPr>
            <p:cNvPr id="11" name="Graphic 8">
              <a:extLst>
                <a:ext uri="{FF2B5EF4-FFF2-40B4-BE49-F238E27FC236}">
                  <a16:creationId xmlns:a16="http://schemas.microsoft.com/office/drawing/2014/main" id="{5D6B68AE-0078-57AB-0074-56BF49153C37}"/>
                </a:ext>
              </a:extLst>
            </p:cNvPr>
            <p:cNvSpPr/>
            <p:nvPr/>
          </p:nvSpPr>
          <p:spPr>
            <a:xfrm>
              <a:off x="2043895" y="4399166"/>
              <a:ext cx="1332000" cy="1332000"/>
            </a:xfrm>
            <a:custGeom>
              <a:avLst/>
              <a:gdLst>
                <a:gd name="connsiteX0" fmla="*/ 749311 w 749310"/>
                <a:gd name="connsiteY0" fmla="*/ 214804 h 858552"/>
                <a:gd name="connsiteX1" fmla="*/ 374655 w 749310"/>
                <a:gd name="connsiteY1" fmla="*/ 0 h 858552"/>
                <a:gd name="connsiteX2" fmla="*/ 0 w 749310"/>
                <a:gd name="connsiteY2" fmla="*/ 214804 h 858552"/>
                <a:gd name="connsiteX3" fmla="*/ 0 w 749310"/>
                <a:gd name="connsiteY3" fmla="*/ 643748 h 858552"/>
                <a:gd name="connsiteX4" fmla="*/ 374655 w 749310"/>
                <a:gd name="connsiteY4" fmla="*/ 858552 h 858552"/>
                <a:gd name="connsiteX5" fmla="*/ 749311 w 749310"/>
                <a:gd name="connsiteY5" fmla="*/ 643748 h 858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9310" h="858552">
                  <a:moveTo>
                    <a:pt x="749311" y="214804"/>
                  </a:moveTo>
                  <a:lnTo>
                    <a:pt x="374655" y="0"/>
                  </a:lnTo>
                  <a:lnTo>
                    <a:pt x="0" y="214804"/>
                  </a:lnTo>
                  <a:lnTo>
                    <a:pt x="0" y="643748"/>
                  </a:lnTo>
                  <a:lnTo>
                    <a:pt x="374655" y="858552"/>
                  </a:lnTo>
                  <a:lnTo>
                    <a:pt x="749311" y="643748"/>
                  </a:lnTo>
                  <a:close/>
                </a:path>
              </a:pathLst>
            </a:custGeom>
            <a:noFill/>
            <a:ln w="6633" cap="flat">
              <a:solidFill>
                <a:srgbClr val="7AB5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BR"/>
            </a:p>
          </p:txBody>
        </p:sp>
        <p:pic>
          <p:nvPicPr>
            <p:cNvPr id="19" name="Grafik 18" descr="Windkraftanlagen mit einfarbiger Füllung">
              <a:extLst>
                <a:ext uri="{FF2B5EF4-FFF2-40B4-BE49-F238E27FC236}">
                  <a16:creationId xmlns:a16="http://schemas.microsoft.com/office/drawing/2014/main" id="{E3B6D2DD-DB9E-4B5F-71B7-49D25DD749B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flipH="1">
              <a:off x="2156497" y="4688384"/>
              <a:ext cx="445353" cy="49790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1" name="Grafik 20" descr="Solarmodule mit einfarbiger Füllung">
              <a:extLst>
                <a:ext uri="{FF2B5EF4-FFF2-40B4-BE49-F238E27FC236}">
                  <a16:creationId xmlns:a16="http://schemas.microsoft.com/office/drawing/2014/main" id="{D1079AF3-CAB1-335A-C718-086FA189CC15}"/>
                </a:ext>
              </a:extLst>
            </p:cNvPr>
            <p:cNvPicPr>
              <a:picLocks/>
            </p:cNvPicPr>
            <p:nvPr/>
          </p:nvPicPr>
          <p:blipFill rotWithShape="1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9442" t="26769"/>
            <a:stretch/>
          </p:blipFill>
          <p:spPr>
            <a:xfrm flipH="1">
              <a:off x="2737772" y="4669166"/>
              <a:ext cx="438004" cy="396000"/>
            </a:xfrm>
            <a:prstGeom prst="trapezoid">
              <a:avLst/>
            </a:prstGeom>
            <a:noFill/>
            <a:ln>
              <a:noFill/>
            </a:ln>
          </p:spPr>
        </p:pic>
        <p:pic>
          <p:nvPicPr>
            <p:cNvPr id="22" name="Grafik 21" descr="Kraftstoff mit einfarbiger Füllung">
              <a:extLst>
                <a:ext uri="{FF2B5EF4-FFF2-40B4-BE49-F238E27FC236}">
                  <a16:creationId xmlns:a16="http://schemas.microsoft.com/office/drawing/2014/main" id="{31EEF227-0ACF-B1C7-8DFF-7DBA416AC6A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545365" y="5029068"/>
              <a:ext cx="522230" cy="522230"/>
            </a:xfrm>
            <a:prstGeom prst="rect">
              <a:avLst/>
            </a:prstGeom>
          </p:spPr>
        </p:pic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437ED785-1495-2598-6B5A-72FA6DEDDC35}"/>
              </a:ext>
            </a:extLst>
          </p:cNvPr>
          <p:cNvGrpSpPr/>
          <p:nvPr/>
        </p:nvGrpSpPr>
        <p:grpSpPr>
          <a:xfrm>
            <a:off x="661649" y="3985283"/>
            <a:ext cx="735379" cy="718607"/>
            <a:chOff x="1484670" y="2694817"/>
            <a:chExt cx="735379" cy="718607"/>
          </a:xfrm>
        </p:grpSpPr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C0B6FD2F-C0C7-0CBA-77E3-5E34CDDF2125}"/>
                </a:ext>
              </a:extLst>
            </p:cNvPr>
            <p:cNvGrpSpPr/>
            <p:nvPr/>
          </p:nvGrpSpPr>
          <p:grpSpPr>
            <a:xfrm>
              <a:off x="1484670" y="2694817"/>
              <a:ext cx="375547" cy="614597"/>
              <a:chOff x="9870656" y="4436810"/>
              <a:chExt cx="1113505" cy="1822293"/>
            </a:xfrm>
          </p:grpSpPr>
          <p:sp>
            <p:nvSpPr>
              <p:cNvPr id="30" name="Freihandform 78">
                <a:extLst>
                  <a:ext uri="{FF2B5EF4-FFF2-40B4-BE49-F238E27FC236}">
                    <a16:creationId xmlns:a16="http://schemas.microsoft.com/office/drawing/2014/main" id="{C0AC6FF0-23EC-90B8-C216-8F8CAC4F79DF}"/>
                  </a:ext>
                </a:extLst>
              </p:cNvPr>
              <p:cNvSpPr/>
              <p:nvPr/>
            </p:nvSpPr>
            <p:spPr>
              <a:xfrm>
                <a:off x="9870656" y="4614668"/>
                <a:ext cx="1113505" cy="1644435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31" name="Gruppieren 30">
                <a:extLst>
                  <a:ext uri="{FF2B5EF4-FFF2-40B4-BE49-F238E27FC236}">
                    <a16:creationId xmlns:a16="http://schemas.microsoft.com/office/drawing/2014/main" id="{0B04BC47-5D17-1220-BD01-864C3B1D751E}"/>
                  </a:ext>
                </a:extLst>
              </p:cNvPr>
              <p:cNvGrpSpPr/>
              <p:nvPr/>
            </p:nvGrpSpPr>
            <p:grpSpPr>
              <a:xfrm>
                <a:off x="9902047" y="4436810"/>
                <a:ext cx="1043721" cy="546975"/>
                <a:chOff x="8472264" y="2426134"/>
                <a:chExt cx="1043721" cy="546975"/>
              </a:xfrm>
            </p:grpSpPr>
            <p:sp>
              <p:nvSpPr>
                <p:cNvPr id="32" name="Freihandform: Form 31">
                  <a:extLst>
                    <a:ext uri="{FF2B5EF4-FFF2-40B4-BE49-F238E27FC236}">
                      <a16:creationId xmlns:a16="http://schemas.microsoft.com/office/drawing/2014/main" id="{7AC4C06B-8685-EF76-9965-2D59077BB473}"/>
                    </a:ext>
                  </a:extLst>
                </p:cNvPr>
                <p:cNvSpPr/>
                <p:nvPr/>
              </p:nvSpPr>
              <p:spPr>
                <a:xfrm>
                  <a:off x="8599858" y="2459698"/>
                  <a:ext cx="792088" cy="470009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4" name="Freihandform: Form 33" descr="Bauarbeiter Silhouette">
                  <a:extLst>
                    <a:ext uri="{FF2B5EF4-FFF2-40B4-BE49-F238E27FC236}">
                      <a16:creationId xmlns:a16="http://schemas.microsoft.com/office/drawing/2014/main" id="{2BB97F8B-C813-45BC-3116-1EA8C0493FD4}"/>
                    </a:ext>
                  </a:extLst>
                </p:cNvPr>
                <p:cNvSpPr/>
                <p:nvPr/>
              </p:nvSpPr>
              <p:spPr>
                <a:xfrm>
                  <a:off x="8472264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CDC4249B-E335-D8A2-16E3-25DF534DD240}"/>
                </a:ext>
              </a:extLst>
            </p:cNvPr>
            <p:cNvGrpSpPr/>
            <p:nvPr/>
          </p:nvGrpSpPr>
          <p:grpSpPr>
            <a:xfrm>
              <a:off x="1909967" y="2887862"/>
              <a:ext cx="310082" cy="525562"/>
              <a:chOff x="11067982" y="4739041"/>
              <a:chExt cx="783930" cy="1328694"/>
            </a:xfrm>
          </p:grpSpPr>
          <p:sp>
            <p:nvSpPr>
              <p:cNvPr id="26" name="Freihandform 76">
                <a:extLst>
                  <a:ext uri="{FF2B5EF4-FFF2-40B4-BE49-F238E27FC236}">
                    <a16:creationId xmlns:a16="http://schemas.microsoft.com/office/drawing/2014/main" id="{D8246C5A-8EF9-A18F-BF17-893FFA995815}"/>
                  </a:ext>
                </a:extLst>
              </p:cNvPr>
              <p:cNvSpPr/>
              <p:nvPr/>
            </p:nvSpPr>
            <p:spPr>
              <a:xfrm>
                <a:off x="11067982" y="4910022"/>
                <a:ext cx="783930" cy="1157713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27" name="Gruppieren 26">
                <a:extLst>
                  <a:ext uri="{FF2B5EF4-FFF2-40B4-BE49-F238E27FC236}">
                    <a16:creationId xmlns:a16="http://schemas.microsoft.com/office/drawing/2014/main" id="{47E0ABD7-82AF-F182-6D2D-A37D2405A3E6}"/>
                  </a:ext>
                </a:extLst>
              </p:cNvPr>
              <p:cNvGrpSpPr/>
              <p:nvPr/>
            </p:nvGrpSpPr>
            <p:grpSpPr>
              <a:xfrm>
                <a:off x="11078280" y="4739041"/>
                <a:ext cx="768383" cy="402681"/>
                <a:chOff x="9650969" y="2426134"/>
                <a:chExt cx="1043720" cy="546975"/>
              </a:xfrm>
            </p:grpSpPr>
            <p:sp>
              <p:nvSpPr>
                <p:cNvPr id="28" name="Freihandform: Form 27">
                  <a:extLst>
                    <a:ext uri="{FF2B5EF4-FFF2-40B4-BE49-F238E27FC236}">
                      <a16:creationId xmlns:a16="http://schemas.microsoft.com/office/drawing/2014/main" id="{60A09EDA-C766-1DA9-9727-719F933C2671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29" name="Freihandform: Form 28" descr="Bauarbeiter Silhouette">
                  <a:extLst>
                    <a:ext uri="{FF2B5EF4-FFF2-40B4-BE49-F238E27FC236}">
                      <a16:creationId xmlns:a16="http://schemas.microsoft.com/office/drawing/2014/main" id="{44B17C99-BC1D-7793-C1C4-679545F8599F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13" name="Textfeld 12">
            <a:extLst>
              <a:ext uri="{FF2B5EF4-FFF2-40B4-BE49-F238E27FC236}">
                <a16:creationId xmlns:a16="http://schemas.microsoft.com/office/drawing/2014/main" id="{3BB392F6-B9F9-DD33-603C-5F24B37D180E}"/>
              </a:ext>
            </a:extLst>
          </p:cNvPr>
          <p:cNvSpPr txBox="1"/>
          <p:nvPr/>
        </p:nvSpPr>
        <p:spPr>
          <a:xfrm>
            <a:off x="6438182" y="1236437"/>
            <a:ext cx="2693681" cy="53707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800"/>
              </a:spcAft>
            </a:pPr>
            <a:r>
              <a:rPr lang="de-DE" sz="1600" b="1" dirty="0"/>
              <a:t>Inbetriebnahme*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024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023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026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027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028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028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023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028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025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029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029</a:t>
            </a:r>
          </a:p>
          <a:p>
            <a:pPr marL="285750" indent="-285750">
              <a:spcAft>
                <a:spcPts val="14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2028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53CA1005-46F2-049B-AF64-88A21D41738E}"/>
              </a:ext>
            </a:extLst>
          </p:cNvPr>
          <p:cNvSpPr txBox="1"/>
          <p:nvPr/>
        </p:nvSpPr>
        <p:spPr>
          <a:xfrm>
            <a:off x="10416000" y="6391848"/>
            <a:ext cx="18815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/>
              <a:t>*Planungsstand 10/2023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C634037B-B519-2054-EBD1-C6725D77BDD6}"/>
              </a:ext>
            </a:extLst>
          </p:cNvPr>
          <p:cNvCxnSpPr/>
          <p:nvPr/>
        </p:nvCxnSpPr>
        <p:spPr>
          <a:xfrm>
            <a:off x="6205289" y="1316064"/>
            <a:ext cx="0" cy="52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7C11A4CB-DD87-C4C8-BCFF-3FCDF943CCFD}"/>
              </a:ext>
            </a:extLst>
          </p:cNvPr>
          <p:cNvCxnSpPr/>
          <p:nvPr/>
        </p:nvCxnSpPr>
        <p:spPr>
          <a:xfrm>
            <a:off x="8375802" y="1320594"/>
            <a:ext cx="0" cy="5220000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A6E6F95-B231-5C2D-F78A-04C7F8E923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35D93F1A-CDF2-1A5C-DA32-F5EFA20E6C9C}"/>
              </a:ext>
            </a:extLst>
          </p:cNvPr>
          <p:cNvSpPr txBox="1"/>
          <p:nvPr/>
        </p:nvSpPr>
        <p:spPr>
          <a:xfrm>
            <a:off x="8798719" y="5738710"/>
            <a:ext cx="1617279" cy="8515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600"/>
              </a:spcAft>
              <a:buClr>
                <a:schemeClr val="accent1"/>
              </a:buClr>
            </a:pPr>
            <a:r>
              <a:rPr lang="de-DE" sz="1800" dirty="0"/>
              <a:t>__________</a:t>
            </a:r>
          </a:p>
          <a:p>
            <a:pPr>
              <a:spcAft>
                <a:spcPts val="1600"/>
              </a:spcAft>
              <a:buClr>
                <a:schemeClr val="accent1"/>
              </a:buClr>
            </a:pPr>
            <a:r>
              <a:rPr lang="de-DE" sz="1800" b="1" dirty="0"/>
              <a:t>∑ 646 MW</a:t>
            </a:r>
          </a:p>
        </p:txBody>
      </p:sp>
    </p:spTree>
    <p:extLst>
      <p:ext uri="{BB962C8B-B14F-4D97-AF65-F5344CB8AC3E}">
        <p14:creationId xmlns:p14="http://schemas.microsoft.com/office/powerpoint/2010/main" val="17355658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E58D2CF-DE3C-ECD0-5D58-06E6DA78B5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5587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58D2CF-DE3C-ECD0-5D58-06E6DA78B5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139C995-6486-E96F-FD78-18213A1285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Inbetriebnahme PV Peres II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C3FD7CC-5C76-6FB8-4A9B-1E50998858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1.2023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4E30EE-DE67-CA87-A4F4-5729709B76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B7B20F-383F-76F8-E858-5B843525F4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03B93EB-B04C-D97D-3D6B-7ED934E062D4}"/>
              </a:ext>
            </a:extLst>
          </p:cNvPr>
          <p:cNvSpPr txBox="1"/>
          <p:nvPr/>
        </p:nvSpPr>
        <p:spPr>
          <a:xfrm>
            <a:off x="9244495" y="1714439"/>
            <a:ext cx="2795656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Inbetriebnahme am 27.09.2023</a:t>
            </a:r>
          </a:p>
          <a:p>
            <a:pPr marL="285750" indent="-285750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55 Hektar</a:t>
            </a:r>
          </a:p>
          <a:p>
            <a:pPr marL="285750" indent="-285750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66.000 Solarmodule</a:t>
            </a:r>
          </a:p>
          <a:p>
            <a:pPr marL="285750" indent="-285750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37 </a:t>
            </a:r>
            <a:r>
              <a:rPr lang="de-DE" sz="1600" dirty="0" err="1"/>
              <a:t>MWp</a:t>
            </a:r>
            <a:r>
              <a:rPr lang="de-DE" sz="1600" dirty="0"/>
              <a:t> Leistung</a:t>
            </a:r>
          </a:p>
          <a:p>
            <a:pPr marL="285750" indent="-285750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Investitionsvolumen </a:t>
            </a:r>
            <a:r>
              <a:rPr lang="de-DE" sz="1600" dirty="0" err="1"/>
              <a:t>i.H.v</a:t>
            </a:r>
            <a:r>
              <a:rPr lang="de-DE" sz="1600" dirty="0"/>
              <a:t>. 25 Mio. Euro</a:t>
            </a:r>
          </a:p>
          <a:p>
            <a:pPr marL="285750" indent="-285750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Eigenstromversorgung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D3121FE-F29D-83D4-CAD3-C95EE3ACA4FD}"/>
              </a:ext>
            </a:extLst>
          </p:cNvPr>
          <p:cNvSpPr txBox="1"/>
          <p:nvPr/>
        </p:nvSpPr>
        <p:spPr>
          <a:xfrm>
            <a:off x="9244495" y="1287846"/>
            <a:ext cx="22322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chemeClr val="accent1"/>
                </a:solidFill>
              </a:rPr>
              <a:t>Eckdaten </a:t>
            </a:r>
          </a:p>
        </p:txBody>
      </p:sp>
      <p:pic>
        <p:nvPicPr>
          <p:cNvPr id="9" name="Grafik 8" descr="Ein Bild, das draußen, Himmel, Pflanze, Gras enthält.&#10;&#10;Automatisch generierte Beschreibung">
            <a:extLst>
              <a:ext uri="{FF2B5EF4-FFF2-40B4-BE49-F238E27FC236}">
                <a16:creationId xmlns:a16="http://schemas.microsoft.com/office/drawing/2014/main" id="{E6072AE5-42E0-594E-5FC6-300103C5AC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1341201"/>
            <a:ext cx="8911042" cy="5012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7854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3B945E5-755D-9637-3990-D39F332EDF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3B945E5-755D-9637-3990-D39F332EDF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365D04A-33BC-774B-7B1F-C0267AC3D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IBRAG Energy Group </a:t>
            </a:r>
            <a:br>
              <a:rPr lang="de-DE"/>
            </a:br>
            <a:r>
              <a:rPr lang="de-DE" sz="2000"/>
              <a:t>Geschäftsfeld Energie: H</a:t>
            </a:r>
            <a:r>
              <a:rPr lang="de-DE" sz="2000" baseline="-25000"/>
              <a:t>2</a:t>
            </a:r>
            <a:r>
              <a:rPr lang="de-DE" sz="2000"/>
              <a:t>-Elektrolyse als nächste Wertschöpfungsstuf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812EC5-4298-DF66-085A-F3CE50E2A8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1.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117C5C1-6CA7-538C-C798-C36FF49A5A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15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F1280FC-D6AB-7B63-40FC-84A342D2E8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43768" y="2067932"/>
            <a:ext cx="4695570" cy="2722136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9C2086C-F14F-9196-D490-611C663C7C92}"/>
              </a:ext>
            </a:extLst>
          </p:cNvPr>
          <p:cNvSpPr txBox="1"/>
          <p:nvPr/>
        </p:nvSpPr>
        <p:spPr>
          <a:xfrm>
            <a:off x="10242949" y="5091853"/>
            <a:ext cx="171713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i="1"/>
              <a:t>Quelle: Plant Engineering</a:t>
            </a:r>
          </a:p>
        </p:txBody>
      </p:sp>
      <p:sp>
        <p:nvSpPr>
          <p:cNvPr id="8" name="Rectangle 27">
            <a:extLst>
              <a:ext uri="{FF2B5EF4-FFF2-40B4-BE49-F238E27FC236}">
                <a16:creationId xmlns:a16="http://schemas.microsoft.com/office/drawing/2014/main" id="{080BA5EB-24C7-493A-F4C5-C3DAE04231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86898" y="1294922"/>
            <a:ext cx="5353075" cy="497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108000" tIns="108000" rIns="144000" bIns="72000"/>
          <a:lstStyle/>
          <a:p>
            <a:pPr marL="285750" indent="-285750" defTabSz="857250"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DE" sz="1600" b="1" dirty="0"/>
              <a:t>Errichtung und Betrieb je eines 90 MW Elektrolyseurs </a:t>
            </a:r>
            <a:r>
              <a:rPr lang="de-DE" sz="1600" dirty="0"/>
              <a:t>am Standort Profen und Helmstedt auf Basis eigenen erneuerbaren Energien </a:t>
            </a:r>
          </a:p>
          <a:p>
            <a:pPr marL="285750" lvl="0" indent="-285750" defTabSz="857250"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DE" altLang="de-DE" sz="1600" dirty="0"/>
              <a:t>Produktion von je 8.000 t grünem Wasserstoff p.a.</a:t>
            </a:r>
          </a:p>
          <a:p>
            <a:pPr marL="285750" lvl="0" indent="-285750" defTabSz="857250"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DE" altLang="de-DE" sz="1600" dirty="0"/>
              <a:t>Wärmeerzeugung je 62 </a:t>
            </a:r>
            <a:r>
              <a:rPr lang="de-DE" altLang="de-DE" sz="1600" dirty="0" err="1"/>
              <a:t>GWh</a:t>
            </a:r>
            <a:r>
              <a:rPr lang="de-DE" altLang="de-DE" sz="1600" baseline="-25000" dirty="0" err="1"/>
              <a:t>th</a:t>
            </a:r>
            <a:r>
              <a:rPr lang="de-DE" altLang="de-DE" sz="1600" dirty="0"/>
              <a:t> p.a. (entspricht Fernwärmebedarf von ca. 3.900 Haushalten)</a:t>
            </a:r>
          </a:p>
          <a:p>
            <a:pPr marL="285750" indent="-285750" defTabSz="857250"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DE" altLang="de-DE" sz="1600" dirty="0"/>
              <a:t>Ideale Voraussetzungen für die Anbindung an den H2-Hub-BLK sowie an die überregionale H</a:t>
            </a:r>
            <a:r>
              <a:rPr lang="de-DE" altLang="de-DE" sz="1600" baseline="-25000" dirty="0"/>
              <a:t>2 </a:t>
            </a:r>
            <a:r>
              <a:rPr lang="de-DE" altLang="de-DE" sz="1600" dirty="0"/>
              <a:t>- Leitungsinfrastruktur</a:t>
            </a:r>
            <a:endParaRPr lang="de-DE" sz="1600" noProof="1"/>
          </a:p>
          <a:p>
            <a:pPr marL="285750" lvl="0" indent="-285750" defTabSz="857250"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DE" sz="1600" b="1" noProof="1"/>
              <a:t>Nutzung eigener EE-Projekte inkl. eigenem „grünen Netz“ </a:t>
            </a:r>
          </a:p>
          <a:p>
            <a:pPr marL="285750" lvl="0" indent="-285750" defTabSz="857250">
              <a:spcAft>
                <a:spcPts val="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DE" sz="1600" noProof="1"/>
              <a:t>Voraussetzung für Wasserstoffwirtschaft</a:t>
            </a:r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BDF7611B-AB16-B685-D947-9B924AC3D496}"/>
              </a:ext>
            </a:extLst>
          </p:cNvPr>
          <p:cNvCxnSpPr/>
          <p:nvPr/>
        </p:nvCxnSpPr>
        <p:spPr>
          <a:xfrm>
            <a:off x="1919536" y="1381016"/>
            <a:ext cx="0" cy="457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32EEA04D-5900-995E-80B6-54E681BB5219}"/>
              </a:ext>
            </a:extLst>
          </p:cNvPr>
          <p:cNvCxnSpPr/>
          <p:nvPr/>
        </p:nvCxnSpPr>
        <p:spPr>
          <a:xfrm>
            <a:off x="7377386" y="1381016"/>
            <a:ext cx="0" cy="457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2B6AC35E-1EDB-7D9B-F1C1-9C580D3FAE56}"/>
              </a:ext>
            </a:extLst>
          </p:cNvPr>
          <p:cNvGrpSpPr/>
          <p:nvPr/>
        </p:nvGrpSpPr>
        <p:grpSpPr>
          <a:xfrm>
            <a:off x="396000" y="1612001"/>
            <a:ext cx="1332000" cy="1332000"/>
            <a:chOff x="2043895" y="4399166"/>
            <a:chExt cx="1332000" cy="1332000"/>
          </a:xfrm>
        </p:grpSpPr>
        <p:sp>
          <p:nvSpPr>
            <p:cNvPr id="10" name="Graphic 8">
              <a:extLst>
                <a:ext uri="{FF2B5EF4-FFF2-40B4-BE49-F238E27FC236}">
                  <a16:creationId xmlns:a16="http://schemas.microsoft.com/office/drawing/2014/main" id="{894133FC-F4B2-E20B-F3F8-8B7AFC55F1DE}"/>
                </a:ext>
              </a:extLst>
            </p:cNvPr>
            <p:cNvSpPr/>
            <p:nvPr/>
          </p:nvSpPr>
          <p:spPr>
            <a:xfrm>
              <a:off x="2043895" y="4399166"/>
              <a:ext cx="1332000" cy="1332000"/>
            </a:xfrm>
            <a:custGeom>
              <a:avLst/>
              <a:gdLst>
                <a:gd name="connsiteX0" fmla="*/ 749311 w 749310"/>
                <a:gd name="connsiteY0" fmla="*/ 214804 h 858552"/>
                <a:gd name="connsiteX1" fmla="*/ 374655 w 749310"/>
                <a:gd name="connsiteY1" fmla="*/ 0 h 858552"/>
                <a:gd name="connsiteX2" fmla="*/ 0 w 749310"/>
                <a:gd name="connsiteY2" fmla="*/ 214804 h 858552"/>
                <a:gd name="connsiteX3" fmla="*/ 0 w 749310"/>
                <a:gd name="connsiteY3" fmla="*/ 643748 h 858552"/>
                <a:gd name="connsiteX4" fmla="*/ 374655 w 749310"/>
                <a:gd name="connsiteY4" fmla="*/ 858552 h 858552"/>
                <a:gd name="connsiteX5" fmla="*/ 749311 w 749310"/>
                <a:gd name="connsiteY5" fmla="*/ 643748 h 858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9310" h="858552">
                  <a:moveTo>
                    <a:pt x="749311" y="214804"/>
                  </a:moveTo>
                  <a:lnTo>
                    <a:pt x="374655" y="0"/>
                  </a:lnTo>
                  <a:lnTo>
                    <a:pt x="0" y="214804"/>
                  </a:lnTo>
                  <a:lnTo>
                    <a:pt x="0" y="643748"/>
                  </a:lnTo>
                  <a:lnTo>
                    <a:pt x="374655" y="858552"/>
                  </a:lnTo>
                  <a:lnTo>
                    <a:pt x="749311" y="643748"/>
                  </a:lnTo>
                  <a:close/>
                </a:path>
              </a:pathLst>
            </a:custGeom>
            <a:noFill/>
            <a:ln w="6633" cap="flat">
              <a:solidFill>
                <a:srgbClr val="7AB5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BR"/>
            </a:p>
          </p:txBody>
        </p:sp>
        <p:pic>
          <p:nvPicPr>
            <p:cNvPr id="11" name="Grafik 10" descr="Windkraftanlagen mit einfarbiger Füllung">
              <a:extLst>
                <a:ext uri="{FF2B5EF4-FFF2-40B4-BE49-F238E27FC236}">
                  <a16:creationId xmlns:a16="http://schemas.microsoft.com/office/drawing/2014/main" id="{96FB9374-8A41-D70F-959A-E7972F97F54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flipH="1">
              <a:off x="2156497" y="4688384"/>
              <a:ext cx="445353" cy="49790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3" name="Grafik 12" descr="Solarmodule mit einfarbiger Füllung">
              <a:extLst>
                <a:ext uri="{FF2B5EF4-FFF2-40B4-BE49-F238E27FC236}">
                  <a16:creationId xmlns:a16="http://schemas.microsoft.com/office/drawing/2014/main" id="{964D8D0E-1652-D67F-BDD9-D090DEF26076}"/>
                </a:ext>
              </a:extLst>
            </p:cNvPr>
            <p:cNvPicPr>
              <a:picLocks/>
            </p:cNvPicPr>
            <p:nvPr/>
          </p:nvPicPr>
          <p:blipFill rotWithShape="1"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9442" t="26769"/>
            <a:stretch/>
          </p:blipFill>
          <p:spPr>
            <a:xfrm flipH="1">
              <a:off x="2737772" y="4669166"/>
              <a:ext cx="438004" cy="396000"/>
            </a:xfrm>
            <a:prstGeom prst="trapezoid">
              <a:avLst/>
            </a:prstGeom>
            <a:noFill/>
            <a:ln>
              <a:noFill/>
            </a:ln>
          </p:spPr>
        </p:pic>
        <p:pic>
          <p:nvPicPr>
            <p:cNvPr id="16" name="Grafik 15" descr="Kraftstoff mit einfarbiger Füllung">
              <a:extLst>
                <a:ext uri="{FF2B5EF4-FFF2-40B4-BE49-F238E27FC236}">
                  <a16:creationId xmlns:a16="http://schemas.microsoft.com/office/drawing/2014/main" id="{8092ED57-F924-CF38-2EFF-BB5D151788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545365" y="5029068"/>
              <a:ext cx="522230" cy="522230"/>
            </a:xfrm>
            <a:prstGeom prst="rect">
              <a:avLst/>
            </a:prstGeom>
          </p:spPr>
        </p:pic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7730B4F9-B1D3-BFC7-5994-F172A91EB67F}"/>
              </a:ext>
            </a:extLst>
          </p:cNvPr>
          <p:cNvGrpSpPr/>
          <p:nvPr/>
        </p:nvGrpSpPr>
        <p:grpSpPr>
          <a:xfrm>
            <a:off x="661649" y="3985283"/>
            <a:ext cx="735379" cy="718607"/>
            <a:chOff x="1484670" y="2694817"/>
            <a:chExt cx="735379" cy="718607"/>
          </a:xfrm>
        </p:grpSpPr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554E984E-8FDB-FFD5-C3DD-638C6B882622}"/>
                </a:ext>
              </a:extLst>
            </p:cNvPr>
            <p:cNvGrpSpPr/>
            <p:nvPr/>
          </p:nvGrpSpPr>
          <p:grpSpPr>
            <a:xfrm>
              <a:off x="1484670" y="2694817"/>
              <a:ext cx="375547" cy="614597"/>
              <a:chOff x="9870656" y="4436810"/>
              <a:chExt cx="1113505" cy="1822293"/>
            </a:xfrm>
          </p:grpSpPr>
          <p:sp>
            <p:nvSpPr>
              <p:cNvPr id="34" name="Freihandform 78">
                <a:extLst>
                  <a:ext uri="{FF2B5EF4-FFF2-40B4-BE49-F238E27FC236}">
                    <a16:creationId xmlns:a16="http://schemas.microsoft.com/office/drawing/2014/main" id="{37FC1E0E-1BD3-C2BC-F1D3-EE9F021B94A8}"/>
                  </a:ext>
                </a:extLst>
              </p:cNvPr>
              <p:cNvSpPr/>
              <p:nvPr/>
            </p:nvSpPr>
            <p:spPr>
              <a:xfrm>
                <a:off x="9870656" y="4614668"/>
                <a:ext cx="1113505" cy="1644435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35" name="Gruppieren 34">
                <a:extLst>
                  <a:ext uri="{FF2B5EF4-FFF2-40B4-BE49-F238E27FC236}">
                    <a16:creationId xmlns:a16="http://schemas.microsoft.com/office/drawing/2014/main" id="{70B2AC22-7B11-732C-6AAF-DFCCFE2762A1}"/>
                  </a:ext>
                </a:extLst>
              </p:cNvPr>
              <p:cNvGrpSpPr/>
              <p:nvPr/>
            </p:nvGrpSpPr>
            <p:grpSpPr>
              <a:xfrm>
                <a:off x="9902047" y="4436810"/>
                <a:ext cx="1043721" cy="546975"/>
                <a:chOff x="8472264" y="2426134"/>
                <a:chExt cx="1043721" cy="546975"/>
              </a:xfrm>
            </p:grpSpPr>
            <p:sp>
              <p:nvSpPr>
                <p:cNvPr id="36" name="Freihandform: Form 35">
                  <a:extLst>
                    <a:ext uri="{FF2B5EF4-FFF2-40B4-BE49-F238E27FC236}">
                      <a16:creationId xmlns:a16="http://schemas.microsoft.com/office/drawing/2014/main" id="{CEB73442-56CF-6E04-11F8-336D51526913}"/>
                    </a:ext>
                  </a:extLst>
                </p:cNvPr>
                <p:cNvSpPr/>
                <p:nvPr/>
              </p:nvSpPr>
              <p:spPr>
                <a:xfrm>
                  <a:off x="8599858" y="2459698"/>
                  <a:ext cx="792088" cy="470009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7" name="Freihandform: Form 36" descr="Bauarbeiter Silhouette">
                  <a:extLst>
                    <a:ext uri="{FF2B5EF4-FFF2-40B4-BE49-F238E27FC236}">
                      <a16:creationId xmlns:a16="http://schemas.microsoft.com/office/drawing/2014/main" id="{5B7F876C-26FF-135F-DA17-6B7A13F537A8}"/>
                    </a:ext>
                  </a:extLst>
                </p:cNvPr>
                <p:cNvSpPr/>
                <p:nvPr/>
              </p:nvSpPr>
              <p:spPr>
                <a:xfrm>
                  <a:off x="8472264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62AF6B82-5AAF-7FB2-4304-B8BC06758637}"/>
                </a:ext>
              </a:extLst>
            </p:cNvPr>
            <p:cNvGrpSpPr/>
            <p:nvPr/>
          </p:nvGrpSpPr>
          <p:grpSpPr>
            <a:xfrm>
              <a:off x="1909967" y="2887862"/>
              <a:ext cx="310082" cy="525562"/>
              <a:chOff x="11067982" y="4739041"/>
              <a:chExt cx="783930" cy="1328694"/>
            </a:xfrm>
          </p:grpSpPr>
          <p:sp>
            <p:nvSpPr>
              <p:cNvPr id="30" name="Freihandform 76">
                <a:extLst>
                  <a:ext uri="{FF2B5EF4-FFF2-40B4-BE49-F238E27FC236}">
                    <a16:creationId xmlns:a16="http://schemas.microsoft.com/office/drawing/2014/main" id="{78162D95-B208-E41D-B233-0FE7CC1D721B}"/>
                  </a:ext>
                </a:extLst>
              </p:cNvPr>
              <p:cNvSpPr/>
              <p:nvPr/>
            </p:nvSpPr>
            <p:spPr>
              <a:xfrm>
                <a:off x="11067982" y="4910022"/>
                <a:ext cx="783930" cy="1157713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31" name="Gruppieren 30">
                <a:extLst>
                  <a:ext uri="{FF2B5EF4-FFF2-40B4-BE49-F238E27FC236}">
                    <a16:creationId xmlns:a16="http://schemas.microsoft.com/office/drawing/2014/main" id="{8C32B57B-E4C0-7319-D232-987A4C32DD89}"/>
                  </a:ext>
                </a:extLst>
              </p:cNvPr>
              <p:cNvGrpSpPr/>
              <p:nvPr/>
            </p:nvGrpSpPr>
            <p:grpSpPr>
              <a:xfrm>
                <a:off x="11078280" y="4739041"/>
                <a:ext cx="768383" cy="402681"/>
                <a:chOff x="9650969" y="2426134"/>
                <a:chExt cx="1043720" cy="546975"/>
              </a:xfrm>
            </p:grpSpPr>
            <p:sp>
              <p:nvSpPr>
                <p:cNvPr id="32" name="Freihandform: Form 31">
                  <a:extLst>
                    <a:ext uri="{FF2B5EF4-FFF2-40B4-BE49-F238E27FC236}">
                      <a16:creationId xmlns:a16="http://schemas.microsoft.com/office/drawing/2014/main" id="{48041F2C-0A1B-1357-554C-C4B738F36606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3" name="Freihandform: Form 32" descr="Bauarbeiter Silhouette">
                  <a:extLst>
                    <a:ext uri="{FF2B5EF4-FFF2-40B4-BE49-F238E27FC236}">
                      <a16:creationId xmlns:a16="http://schemas.microsoft.com/office/drawing/2014/main" id="{F04E0A78-D2A6-1490-752E-4FD59779C998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E91CCB64-32AD-D299-6B8F-FFA6E3ED83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</a:p>
        </p:txBody>
      </p:sp>
    </p:spTree>
    <p:extLst>
      <p:ext uri="{BB962C8B-B14F-4D97-AF65-F5344CB8AC3E}">
        <p14:creationId xmlns:p14="http://schemas.microsoft.com/office/powerpoint/2010/main" val="39436571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5" name="Objekt 3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0000" y="180000"/>
            <a:ext cx="11892664" cy="718145"/>
          </a:xfrm>
        </p:spPr>
        <p:txBody>
          <a:bodyPr vert="horz"/>
          <a:lstStyle/>
          <a:p>
            <a:r>
              <a:rPr lang="de-DE"/>
              <a:t>MIBRAG Energy Group</a:t>
            </a:r>
            <a:br>
              <a:rPr lang="de-DE" i="1"/>
            </a:br>
            <a:r>
              <a:rPr lang="de-DE" sz="2000"/>
              <a:t>Geschäftsfeld Recycling/ Verwertung</a:t>
            </a:r>
            <a:endParaRPr lang="en-US" sz="200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5179AF87-D448-D222-3C58-DDF0D76370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088000" y="6669000"/>
            <a:ext cx="900000" cy="180000"/>
          </a:xfrm>
        </p:spPr>
        <p:txBody>
          <a:bodyPr/>
          <a:lstStyle/>
          <a:p>
            <a:r>
              <a:rPr lang="de-DE"/>
              <a:t>21.11.2023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7C2528EF-6551-B7A0-527A-0ACCEBF25A96}"/>
              </a:ext>
            </a:extLst>
          </p:cNvPr>
          <p:cNvGrpSpPr/>
          <p:nvPr/>
        </p:nvGrpSpPr>
        <p:grpSpPr>
          <a:xfrm>
            <a:off x="396000" y="1609385"/>
            <a:ext cx="1332000" cy="1332000"/>
            <a:chOff x="3724333" y="4444416"/>
            <a:chExt cx="1332000" cy="1332000"/>
          </a:xfrm>
        </p:grpSpPr>
        <p:sp>
          <p:nvSpPr>
            <p:cNvPr id="12" name="Graphic 18">
              <a:extLst>
                <a:ext uri="{FF2B5EF4-FFF2-40B4-BE49-F238E27FC236}">
                  <a16:creationId xmlns:a16="http://schemas.microsoft.com/office/drawing/2014/main" id="{9F7B95E9-E7F1-4099-1E6E-8AA6EDA0B5CD}"/>
                </a:ext>
              </a:extLst>
            </p:cNvPr>
            <p:cNvSpPr/>
            <p:nvPr/>
          </p:nvSpPr>
          <p:spPr>
            <a:xfrm>
              <a:off x="3724333" y="4444416"/>
              <a:ext cx="1332000" cy="1332000"/>
            </a:xfrm>
            <a:custGeom>
              <a:avLst/>
              <a:gdLst>
                <a:gd name="connsiteX0" fmla="*/ 749311 w 749310"/>
                <a:gd name="connsiteY0" fmla="*/ 214804 h 858552"/>
                <a:gd name="connsiteX1" fmla="*/ 374655 w 749310"/>
                <a:gd name="connsiteY1" fmla="*/ 0 h 858552"/>
                <a:gd name="connsiteX2" fmla="*/ 0 w 749310"/>
                <a:gd name="connsiteY2" fmla="*/ 214804 h 858552"/>
                <a:gd name="connsiteX3" fmla="*/ 0 w 749310"/>
                <a:gd name="connsiteY3" fmla="*/ 643748 h 858552"/>
                <a:gd name="connsiteX4" fmla="*/ 374655 w 749310"/>
                <a:gd name="connsiteY4" fmla="*/ 858552 h 858552"/>
                <a:gd name="connsiteX5" fmla="*/ 749311 w 749310"/>
                <a:gd name="connsiteY5" fmla="*/ 643748 h 858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9310" h="858552">
                  <a:moveTo>
                    <a:pt x="749311" y="214804"/>
                  </a:moveTo>
                  <a:lnTo>
                    <a:pt x="374655" y="0"/>
                  </a:lnTo>
                  <a:lnTo>
                    <a:pt x="0" y="214804"/>
                  </a:lnTo>
                  <a:lnTo>
                    <a:pt x="0" y="643748"/>
                  </a:lnTo>
                  <a:lnTo>
                    <a:pt x="374655" y="858552"/>
                  </a:lnTo>
                  <a:lnTo>
                    <a:pt x="749311" y="643748"/>
                  </a:lnTo>
                  <a:close/>
                </a:path>
              </a:pathLst>
            </a:custGeom>
            <a:noFill/>
            <a:ln w="6633" cap="flat">
              <a:solidFill>
                <a:srgbClr val="7AB5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BR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C28EFF1D-AC5C-4B02-F1A2-A2BBAA42D8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48658" y="4687957"/>
              <a:ext cx="470837" cy="439379"/>
            </a:xfrm>
            <a:custGeom>
              <a:avLst/>
              <a:gdLst>
                <a:gd name="T0" fmla="*/ 562 w 7707"/>
                <a:gd name="T1" fmla="*/ 4868 h 7191"/>
                <a:gd name="T2" fmla="*/ 1465 w 7707"/>
                <a:gd name="T3" fmla="*/ 5094 h 7191"/>
                <a:gd name="T4" fmla="*/ 3774 w 7707"/>
                <a:gd name="T5" fmla="*/ 5169 h 7191"/>
                <a:gd name="T6" fmla="*/ 3724 w 7707"/>
                <a:gd name="T7" fmla="*/ 6574 h 7191"/>
                <a:gd name="T8" fmla="*/ 1666 w 7707"/>
                <a:gd name="T9" fmla="*/ 6675 h 7191"/>
                <a:gd name="T10" fmla="*/ 562 w 7707"/>
                <a:gd name="T11" fmla="*/ 4868 h 7191"/>
                <a:gd name="T12" fmla="*/ 7465 w 7707"/>
                <a:gd name="T13" fmla="*/ 4730 h 7191"/>
                <a:gd name="T14" fmla="*/ 6438 w 7707"/>
                <a:gd name="T15" fmla="*/ 6741 h 7191"/>
                <a:gd name="T16" fmla="*/ 5372 w 7707"/>
                <a:gd name="T17" fmla="*/ 6732 h 7191"/>
                <a:gd name="T18" fmla="*/ 5222 w 7707"/>
                <a:gd name="T19" fmla="*/ 7191 h 7191"/>
                <a:gd name="T20" fmla="*/ 4266 w 7707"/>
                <a:gd name="T21" fmla="*/ 6083 h 7191"/>
                <a:gd name="T22" fmla="*/ 5039 w 7707"/>
                <a:gd name="T23" fmla="*/ 4844 h 7191"/>
                <a:gd name="T24" fmla="*/ 5115 w 7707"/>
                <a:gd name="T25" fmla="*/ 5249 h 7191"/>
                <a:gd name="T26" fmla="*/ 6721 w 7707"/>
                <a:gd name="T27" fmla="*/ 5082 h 7191"/>
                <a:gd name="T28" fmla="*/ 7465 w 7707"/>
                <a:gd name="T29" fmla="*/ 4730 h 7191"/>
                <a:gd name="T30" fmla="*/ 126 w 7707"/>
                <a:gd name="T31" fmla="*/ 2718 h 7191"/>
                <a:gd name="T32" fmla="*/ 1800 w 7707"/>
                <a:gd name="T33" fmla="*/ 2719 h 7191"/>
                <a:gd name="T34" fmla="*/ 2588 w 7707"/>
                <a:gd name="T35" fmla="*/ 4134 h 7191"/>
                <a:gd name="T36" fmla="*/ 1972 w 7707"/>
                <a:gd name="T37" fmla="*/ 3862 h 7191"/>
                <a:gd name="T38" fmla="*/ 1705 w 7707"/>
                <a:gd name="T39" fmla="*/ 4732 h 7191"/>
                <a:gd name="T40" fmla="*/ 742 w 7707"/>
                <a:gd name="T41" fmla="*/ 3141 h 7191"/>
                <a:gd name="T42" fmla="*/ 126 w 7707"/>
                <a:gd name="T43" fmla="*/ 2718 h 7191"/>
                <a:gd name="T44" fmla="*/ 7014 w 7707"/>
                <a:gd name="T45" fmla="*/ 2397 h 7191"/>
                <a:gd name="T46" fmla="*/ 7697 w 7707"/>
                <a:gd name="T47" fmla="*/ 3913 h 7191"/>
                <a:gd name="T48" fmla="*/ 7075 w 7707"/>
                <a:gd name="T49" fmla="*/ 4661 h 7191"/>
                <a:gd name="T50" fmla="*/ 6399 w 7707"/>
                <a:gd name="T51" fmla="*/ 4406 h 7191"/>
                <a:gd name="T52" fmla="*/ 5740 w 7707"/>
                <a:gd name="T53" fmla="*/ 2989 h 7191"/>
                <a:gd name="T54" fmla="*/ 7014 w 7707"/>
                <a:gd name="T55" fmla="*/ 2397 h 7191"/>
                <a:gd name="T56" fmla="*/ 3011 w 7707"/>
                <a:gd name="T57" fmla="*/ 267 h 7191"/>
                <a:gd name="T58" fmla="*/ 3548 w 7707"/>
                <a:gd name="T59" fmla="*/ 428 h 7191"/>
                <a:gd name="T60" fmla="*/ 3648 w 7707"/>
                <a:gd name="T61" fmla="*/ 1187 h 7191"/>
                <a:gd name="T62" fmla="*/ 2678 w 7707"/>
                <a:gd name="T63" fmla="*/ 2630 h 7191"/>
                <a:gd name="T64" fmla="*/ 1512 w 7707"/>
                <a:gd name="T65" fmla="*/ 1846 h 7191"/>
                <a:gd name="T66" fmla="*/ 2412 w 7707"/>
                <a:gd name="T67" fmla="*/ 450 h 7191"/>
                <a:gd name="T68" fmla="*/ 3011 w 7707"/>
                <a:gd name="T69" fmla="*/ 267 h 7191"/>
                <a:gd name="T70" fmla="*/ 3448 w 7707"/>
                <a:gd name="T71" fmla="*/ 0 h 7191"/>
                <a:gd name="T72" fmla="*/ 5706 w 7707"/>
                <a:gd name="T73" fmla="*/ 0 h 7191"/>
                <a:gd name="T74" fmla="*/ 6183 w 7707"/>
                <a:gd name="T75" fmla="*/ 953 h 7191"/>
                <a:gd name="T76" fmla="*/ 6660 w 7707"/>
                <a:gd name="T77" fmla="*/ 878 h 7191"/>
                <a:gd name="T78" fmla="*/ 6108 w 7707"/>
                <a:gd name="T79" fmla="*/ 2233 h 7191"/>
                <a:gd name="T80" fmla="*/ 4652 w 7707"/>
                <a:gd name="T81" fmla="*/ 2108 h 7191"/>
                <a:gd name="T82" fmla="*/ 4979 w 7707"/>
                <a:gd name="T83" fmla="*/ 1857 h 7191"/>
                <a:gd name="T84" fmla="*/ 4100 w 7707"/>
                <a:gd name="T85" fmla="*/ 502 h 7191"/>
                <a:gd name="T86" fmla="*/ 3448 w 7707"/>
                <a:gd name="T87" fmla="*/ 0 h 7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707" h="7191">
                  <a:moveTo>
                    <a:pt x="562" y="4868"/>
                  </a:moveTo>
                  <a:cubicBezTo>
                    <a:pt x="805" y="4998"/>
                    <a:pt x="930" y="5044"/>
                    <a:pt x="1465" y="5094"/>
                  </a:cubicBezTo>
                  <a:cubicBezTo>
                    <a:pt x="2001" y="5144"/>
                    <a:pt x="3398" y="4939"/>
                    <a:pt x="3774" y="5169"/>
                  </a:cubicBezTo>
                  <a:lnTo>
                    <a:pt x="3724" y="6574"/>
                  </a:lnTo>
                  <a:lnTo>
                    <a:pt x="1666" y="6675"/>
                  </a:lnTo>
                  <a:lnTo>
                    <a:pt x="562" y="4868"/>
                  </a:lnTo>
                  <a:close/>
                  <a:moveTo>
                    <a:pt x="7465" y="4730"/>
                  </a:moveTo>
                  <a:lnTo>
                    <a:pt x="6438" y="6741"/>
                  </a:lnTo>
                  <a:lnTo>
                    <a:pt x="5372" y="6732"/>
                  </a:lnTo>
                  <a:lnTo>
                    <a:pt x="5222" y="7191"/>
                  </a:lnTo>
                  <a:lnTo>
                    <a:pt x="4266" y="6083"/>
                  </a:lnTo>
                  <a:lnTo>
                    <a:pt x="5039" y="4844"/>
                  </a:lnTo>
                  <a:lnTo>
                    <a:pt x="5115" y="5249"/>
                  </a:lnTo>
                  <a:cubicBezTo>
                    <a:pt x="5395" y="5288"/>
                    <a:pt x="6329" y="5169"/>
                    <a:pt x="6721" y="5082"/>
                  </a:cubicBezTo>
                  <a:cubicBezTo>
                    <a:pt x="7113" y="4996"/>
                    <a:pt x="7194" y="4911"/>
                    <a:pt x="7465" y="4730"/>
                  </a:cubicBezTo>
                  <a:close/>
                  <a:moveTo>
                    <a:pt x="126" y="2718"/>
                  </a:moveTo>
                  <a:lnTo>
                    <a:pt x="1800" y="2719"/>
                  </a:lnTo>
                  <a:lnTo>
                    <a:pt x="2588" y="4134"/>
                  </a:lnTo>
                  <a:cubicBezTo>
                    <a:pt x="2282" y="4035"/>
                    <a:pt x="2177" y="3911"/>
                    <a:pt x="1972" y="3862"/>
                  </a:cubicBezTo>
                  <a:cubicBezTo>
                    <a:pt x="1708" y="4085"/>
                    <a:pt x="1669" y="4233"/>
                    <a:pt x="1705" y="4732"/>
                  </a:cubicBezTo>
                  <a:cubicBezTo>
                    <a:pt x="363" y="4837"/>
                    <a:pt x="0" y="3763"/>
                    <a:pt x="742" y="3141"/>
                  </a:cubicBezTo>
                  <a:lnTo>
                    <a:pt x="126" y="2718"/>
                  </a:lnTo>
                  <a:close/>
                  <a:moveTo>
                    <a:pt x="7014" y="2397"/>
                  </a:moveTo>
                  <a:cubicBezTo>
                    <a:pt x="7234" y="2869"/>
                    <a:pt x="7477" y="3441"/>
                    <a:pt x="7697" y="3913"/>
                  </a:cubicBezTo>
                  <a:cubicBezTo>
                    <a:pt x="7707" y="4291"/>
                    <a:pt x="7397" y="4554"/>
                    <a:pt x="7075" y="4661"/>
                  </a:cubicBezTo>
                  <a:cubicBezTo>
                    <a:pt x="6604" y="4861"/>
                    <a:pt x="6616" y="4855"/>
                    <a:pt x="6399" y="4406"/>
                  </a:cubicBezTo>
                  <a:lnTo>
                    <a:pt x="5740" y="2989"/>
                  </a:lnTo>
                  <a:lnTo>
                    <a:pt x="7014" y="2397"/>
                  </a:lnTo>
                  <a:close/>
                  <a:moveTo>
                    <a:pt x="3011" y="267"/>
                  </a:moveTo>
                  <a:cubicBezTo>
                    <a:pt x="3221" y="263"/>
                    <a:pt x="3420" y="317"/>
                    <a:pt x="3548" y="428"/>
                  </a:cubicBezTo>
                  <a:cubicBezTo>
                    <a:pt x="3962" y="730"/>
                    <a:pt x="3950" y="723"/>
                    <a:pt x="3648" y="1187"/>
                  </a:cubicBezTo>
                  <a:lnTo>
                    <a:pt x="2678" y="2630"/>
                  </a:lnTo>
                  <a:lnTo>
                    <a:pt x="1512" y="1846"/>
                  </a:lnTo>
                  <a:cubicBezTo>
                    <a:pt x="1835" y="1365"/>
                    <a:pt x="2089" y="931"/>
                    <a:pt x="2412" y="450"/>
                  </a:cubicBezTo>
                  <a:cubicBezTo>
                    <a:pt x="2582" y="332"/>
                    <a:pt x="2802" y="271"/>
                    <a:pt x="3011" y="267"/>
                  </a:cubicBezTo>
                  <a:close/>
                  <a:moveTo>
                    <a:pt x="3448" y="0"/>
                  </a:moveTo>
                  <a:lnTo>
                    <a:pt x="5706" y="0"/>
                  </a:lnTo>
                  <a:lnTo>
                    <a:pt x="6183" y="953"/>
                  </a:lnTo>
                  <a:lnTo>
                    <a:pt x="6660" y="878"/>
                  </a:lnTo>
                  <a:lnTo>
                    <a:pt x="6108" y="2233"/>
                  </a:lnTo>
                  <a:lnTo>
                    <a:pt x="4652" y="2108"/>
                  </a:lnTo>
                  <a:lnTo>
                    <a:pt x="4979" y="1857"/>
                  </a:lnTo>
                  <a:cubicBezTo>
                    <a:pt x="4887" y="1589"/>
                    <a:pt x="4355" y="811"/>
                    <a:pt x="4100" y="502"/>
                  </a:cubicBezTo>
                  <a:cubicBezTo>
                    <a:pt x="3845" y="192"/>
                    <a:pt x="3732" y="159"/>
                    <a:pt x="3448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3B9EF459-6C37-13EF-4CC1-34165F4C63F7}"/>
                </a:ext>
              </a:extLst>
            </p:cNvPr>
            <p:cNvGrpSpPr/>
            <p:nvPr/>
          </p:nvGrpSpPr>
          <p:grpSpPr>
            <a:xfrm>
              <a:off x="3860641" y="4910344"/>
              <a:ext cx="1125259" cy="651936"/>
              <a:chOff x="3716625" y="4522126"/>
              <a:chExt cx="1125259" cy="651936"/>
            </a:xfrm>
            <a:solidFill>
              <a:schemeClr val="accent1"/>
            </a:solidFill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AFD2AF69-9C03-BE6A-C83A-AFD541FC3430}"/>
                  </a:ext>
                </a:extLst>
              </p:cNvPr>
              <p:cNvSpPr/>
              <p:nvPr/>
            </p:nvSpPr>
            <p:spPr>
              <a:xfrm>
                <a:off x="3716625" y="4798070"/>
                <a:ext cx="493724" cy="122143"/>
              </a:xfrm>
              <a:custGeom>
                <a:avLst/>
                <a:gdLst>
                  <a:gd name="connsiteX0" fmla="*/ 905315 w 972188"/>
                  <a:gd name="connsiteY0" fmla="*/ 240511 h 240511"/>
                  <a:gd name="connsiteX1" fmla="*/ 972188 w 972188"/>
                  <a:gd name="connsiteY1" fmla="*/ 211394 h 240511"/>
                  <a:gd name="connsiteX2" fmla="*/ 948190 w 972188"/>
                  <a:gd name="connsiteY2" fmla="*/ 203362 h 240511"/>
                  <a:gd name="connsiteX3" fmla="*/ 50956 w 972188"/>
                  <a:gd name="connsiteY3" fmla="*/ 5144 h 240511"/>
                  <a:gd name="connsiteX4" fmla="*/ 0 w 972188"/>
                  <a:gd name="connsiteY4" fmla="*/ 0 h 240511"/>
                  <a:gd name="connsiteX5" fmla="*/ 0 w 972188"/>
                  <a:gd name="connsiteY5" fmla="*/ 48821 h 240511"/>
                  <a:gd name="connsiteX6" fmla="*/ 45860 w 972188"/>
                  <a:gd name="connsiteY6" fmla="*/ 53455 h 240511"/>
                  <a:gd name="connsiteX7" fmla="*/ 905315 w 972188"/>
                  <a:gd name="connsiteY7" fmla="*/ 240511 h 240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2188" h="240511">
                    <a:moveTo>
                      <a:pt x="905315" y="240511"/>
                    </a:moveTo>
                    <a:cubicBezTo>
                      <a:pt x="927493" y="230563"/>
                      <a:pt x="949840" y="220930"/>
                      <a:pt x="972188" y="211394"/>
                    </a:cubicBezTo>
                    <a:lnTo>
                      <a:pt x="948190" y="203362"/>
                    </a:lnTo>
                    <a:cubicBezTo>
                      <a:pt x="657092" y="105282"/>
                      <a:pt x="356281" y="38826"/>
                      <a:pt x="50956" y="5144"/>
                    </a:cubicBezTo>
                    <a:lnTo>
                      <a:pt x="0" y="0"/>
                    </a:lnTo>
                    <a:lnTo>
                      <a:pt x="0" y="48821"/>
                    </a:lnTo>
                    <a:lnTo>
                      <a:pt x="45860" y="53455"/>
                    </a:lnTo>
                    <a:cubicBezTo>
                      <a:pt x="338065" y="85781"/>
                      <a:pt x="626106" y="148471"/>
                      <a:pt x="905315" y="240511"/>
                    </a:cubicBezTo>
                    <a:close/>
                  </a:path>
                </a:pathLst>
              </a:custGeom>
              <a:grpFill/>
              <a:ln w="242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8B102077-A9FE-E69A-B033-2780717410DF}"/>
                  </a:ext>
                </a:extLst>
              </p:cNvPr>
              <p:cNvSpPr/>
              <p:nvPr/>
            </p:nvSpPr>
            <p:spPr>
              <a:xfrm>
                <a:off x="3716686" y="4921446"/>
                <a:ext cx="334267" cy="76709"/>
              </a:xfrm>
              <a:custGeom>
                <a:avLst/>
                <a:gdLst>
                  <a:gd name="connsiteX0" fmla="*/ 563935 w 658203"/>
                  <a:gd name="connsiteY0" fmla="*/ 142846 h 151047"/>
                  <a:gd name="connsiteX1" fmla="*/ 593053 w 658203"/>
                  <a:gd name="connsiteY1" fmla="*/ 149859 h 151047"/>
                  <a:gd name="connsiteX2" fmla="*/ 597153 w 658203"/>
                  <a:gd name="connsiteY2" fmla="*/ 151048 h 151047"/>
                  <a:gd name="connsiteX3" fmla="*/ 658203 w 658203"/>
                  <a:gd name="connsiteY3" fmla="*/ 118217 h 151047"/>
                  <a:gd name="connsiteX4" fmla="*/ 605501 w 658203"/>
                  <a:gd name="connsiteY4" fmla="*/ 102979 h 151047"/>
                  <a:gd name="connsiteX5" fmla="*/ 575291 w 658203"/>
                  <a:gd name="connsiteY5" fmla="*/ 95700 h 151047"/>
                  <a:gd name="connsiteX6" fmla="*/ 50713 w 658203"/>
                  <a:gd name="connsiteY6" fmla="*/ 4610 h 151047"/>
                  <a:gd name="connsiteX7" fmla="*/ 0 w 658203"/>
                  <a:gd name="connsiteY7" fmla="*/ 0 h 151047"/>
                  <a:gd name="connsiteX8" fmla="*/ 0 w 658203"/>
                  <a:gd name="connsiteY8" fmla="*/ 48724 h 151047"/>
                  <a:gd name="connsiteX9" fmla="*/ 45860 w 658203"/>
                  <a:gd name="connsiteY9" fmla="*/ 52873 h 151047"/>
                  <a:gd name="connsiteX10" fmla="*/ 563935 w 658203"/>
                  <a:gd name="connsiteY10" fmla="*/ 142846 h 151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58203" h="151047">
                    <a:moveTo>
                      <a:pt x="563935" y="142846"/>
                    </a:moveTo>
                    <a:lnTo>
                      <a:pt x="593053" y="149859"/>
                    </a:lnTo>
                    <a:lnTo>
                      <a:pt x="597153" y="151048"/>
                    </a:lnTo>
                    <a:cubicBezTo>
                      <a:pt x="617422" y="139934"/>
                      <a:pt x="637773" y="128991"/>
                      <a:pt x="658203" y="118217"/>
                    </a:cubicBezTo>
                    <a:lnTo>
                      <a:pt x="605501" y="102979"/>
                    </a:lnTo>
                    <a:lnTo>
                      <a:pt x="575291" y="95700"/>
                    </a:lnTo>
                    <a:cubicBezTo>
                      <a:pt x="402483" y="54515"/>
                      <a:pt x="227287" y="24095"/>
                      <a:pt x="50713" y="4610"/>
                    </a:cubicBezTo>
                    <a:lnTo>
                      <a:pt x="0" y="0"/>
                    </a:lnTo>
                    <a:lnTo>
                      <a:pt x="0" y="48724"/>
                    </a:lnTo>
                    <a:lnTo>
                      <a:pt x="45860" y="52873"/>
                    </a:lnTo>
                    <a:cubicBezTo>
                      <a:pt x="220243" y="72151"/>
                      <a:pt x="393265" y="102200"/>
                      <a:pt x="563935" y="142846"/>
                    </a:cubicBezTo>
                    <a:close/>
                  </a:path>
                </a:pathLst>
              </a:custGeom>
              <a:grpFill/>
              <a:ln w="242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8128073B-CF2C-11D2-DF19-FFD926F2A7AD}"/>
                  </a:ext>
                </a:extLst>
              </p:cNvPr>
              <p:cNvSpPr/>
              <p:nvPr/>
            </p:nvSpPr>
            <p:spPr>
              <a:xfrm>
                <a:off x="3716686" y="5042024"/>
                <a:ext cx="191125" cy="43179"/>
              </a:xfrm>
              <a:custGeom>
                <a:avLst/>
                <a:gdLst>
                  <a:gd name="connsiteX0" fmla="*/ 250460 w 376344"/>
                  <a:gd name="connsiteY0" fmla="*/ 77526 h 85023"/>
                  <a:gd name="connsiteX1" fmla="*/ 311122 w 376344"/>
                  <a:gd name="connsiteY1" fmla="*/ 85023 h 85023"/>
                  <a:gd name="connsiteX2" fmla="*/ 376345 w 376344"/>
                  <a:gd name="connsiteY2" fmla="*/ 43288 h 85023"/>
                  <a:gd name="connsiteX3" fmla="*/ 257448 w 376344"/>
                  <a:gd name="connsiteY3" fmla="*/ 29481 h 85023"/>
                  <a:gd name="connsiteX4" fmla="*/ 226753 w 376344"/>
                  <a:gd name="connsiteY4" fmla="*/ 25162 h 85023"/>
                  <a:gd name="connsiteX5" fmla="*/ 50834 w 376344"/>
                  <a:gd name="connsiteY5" fmla="*/ 4586 h 85023"/>
                  <a:gd name="connsiteX6" fmla="*/ 0 w 376344"/>
                  <a:gd name="connsiteY6" fmla="*/ 0 h 85023"/>
                  <a:gd name="connsiteX7" fmla="*/ 0 w 376344"/>
                  <a:gd name="connsiteY7" fmla="*/ 48723 h 85023"/>
                  <a:gd name="connsiteX8" fmla="*/ 46297 w 376344"/>
                  <a:gd name="connsiteY8" fmla="*/ 52897 h 85023"/>
                  <a:gd name="connsiteX9" fmla="*/ 219983 w 376344"/>
                  <a:gd name="connsiteY9" fmla="*/ 73206 h 85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6344" h="85023">
                    <a:moveTo>
                      <a:pt x="250460" y="77526"/>
                    </a:moveTo>
                    <a:cubicBezTo>
                      <a:pt x="265844" y="79734"/>
                      <a:pt x="288725" y="82378"/>
                      <a:pt x="311122" y="85023"/>
                    </a:cubicBezTo>
                    <a:cubicBezTo>
                      <a:pt x="332734" y="70901"/>
                      <a:pt x="354475" y="56990"/>
                      <a:pt x="376345" y="43288"/>
                    </a:cubicBezTo>
                    <a:cubicBezTo>
                      <a:pt x="351619" y="40692"/>
                      <a:pt x="287997" y="33898"/>
                      <a:pt x="257448" y="29481"/>
                    </a:cubicBezTo>
                    <a:lnTo>
                      <a:pt x="226753" y="25162"/>
                    </a:lnTo>
                    <a:cubicBezTo>
                      <a:pt x="174099" y="17737"/>
                      <a:pt x="118242" y="11210"/>
                      <a:pt x="50834" y="4586"/>
                    </a:cubicBezTo>
                    <a:lnTo>
                      <a:pt x="0" y="0"/>
                    </a:lnTo>
                    <a:lnTo>
                      <a:pt x="0" y="48723"/>
                    </a:lnTo>
                    <a:lnTo>
                      <a:pt x="46297" y="52897"/>
                    </a:lnTo>
                    <a:cubicBezTo>
                      <a:pt x="112806" y="59448"/>
                      <a:pt x="168009" y="65903"/>
                      <a:pt x="219983" y="73206"/>
                    </a:cubicBezTo>
                    <a:close/>
                  </a:path>
                </a:pathLst>
              </a:custGeom>
              <a:grpFill/>
              <a:ln w="242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37235B68-B3E7-340A-E3BE-DBA278D308C3}"/>
                  </a:ext>
                </a:extLst>
              </p:cNvPr>
              <p:cNvSpPr/>
              <p:nvPr/>
            </p:nvSpPr>
            <p:spPr>
              <a:xfrm>
                <a:off x="4052149" y="4915974"/>
                <a:ext cx="724233" cy="258088"/>
              </a:xfrm>
              <a:custGeom>
                <a:avLst/>
                <a:gdLst>
                  <a:gd name="connsiteX0" fmla="*/ 0 w 1426082"/>
                  <a:gd name="connsiteY0" fmla="*/ 508199 h 508199"/>
                  <a:gd name="connsiteX1" fmla="*/ 102688 w 1426082"/>
                  <a:gd name="connsiteY1" fmla="*/ 508199 h 508199"/>
                  <a:gd name="connsiteX2" fmla="*/ 144278 w 1426082"/>
                  <a:gd name="connsiteY2" fmla="*/ 485900 h 508199"/>
                  <a:gd name="connsiteX3" fmla="*/ 1426083 w 1426082"/>
                  <a:gd name="connsiteY3" fmla="*/ 49136 h 508199"/>
                  <a:gd name="connsiteX4" fmla="*/ 1426083 w 1426082"/>
                  <a:gd name="connsiteY4" fmla="*/ 0 h 508199"/>
                  <a:gd name="connsiteX5" fmla="*/ 121348 w 1426082"/>
                  <a:gd name="connsiteY5" fmla="*/ 443121 h 50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26082" h="508199">
                    <a:moveTo>
                      <a:pt x="0" y="508199"/>
                    </a:moveTo>
                    <a:lnTo>
                      <a:pt x="102688" y="508199"/>
                    </a:lnTo>
                    <a:lnTo>
                      <a:pt x="144278" y="485900"/>
                    </a:lnTo>
                    <a:cubicBezTo>
                      <a:pt x="544659" y="270903"/>
                      <a:pt x="977728" y="123340"/>
                      <a:pt x="1426083" y="49136"/>
                    </a:cubicBezTo>
                    <a:lnTo>
                      <a:pt x="1426083" y="0"/>
                    </a:lnTo>
                    <a:cubicBezTo>
                      <a:pt x="969682" y="74628"/>
                      <a:pt x="528800" y="224363"/>
                      <a:pt x="121348" y="443121"/>
                    </a:cubicBezTo>
                    <a:close/>
                  </a:path>
                </a:pathLst>
              </a:custGeom>
              <a:grpFill/>
              <a:ln w="242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534E8863-C896-BF17-79BA-A711683BBD83}"/>
                  </a:ext>
                </a:extLst>
              </p:cNvPr>
              <p:cNvSpPr/>
              <p:nvPr/>
            </p:nvSpPr>
            <p:spPr>
              <a:xfrm>
                <a:off x="4339072" y="5043897"/>
                <a:ext cx="437273" cy="130165"/>
              </a:xfrm>
              <a:custGeom>
                <a:avLst/>
                <a:gdLst>
                  <a:gd name="connsiteX0" fmla="*/ 0 w 861031"/>
                  <a:gd name="connsiteY0" fmla="*/ 256308 h 256307"/>
                  <a:gd name="connsiteX1" fmla="*/ 140323 w 861031"/>
                  <a:gd name="connsiteY1" fmla="*/ 256308 h 256307"/>
                  <a:gd name="connsiteX2" fmla="*/ 330436 w 861031"/>
                  <a:gd name="connsiteY2" fmla="*/ 186280 h 256307"/>
                  <a:gd name="connsiteX3" fmla="*/ 861032 w 861031"/>
                  <a:gd name="connsiteY3" fmla="*/ 49451 h 256307"/>
                  <a:gd name="connsiteX4" fmla="*/ 861032 w 861031"/>
                  <a:gd name="connsiteY4" fmla="*/ 0 h 256307"/>
                  <a:gd name="connsiteX5" fmla="*/ 314422 w 861031"/>
                  <a:gd name="connsiteY5" fmla="*/ 140468 h 25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1031" h="256307">
                    <a:moveTo>
                      <a:pt x="0" y="256308"/>
                    </a:moveTo>
                    <a:lnTo>
                      <a:pt x="140323" y="256308"/>
                    </a:lnTo>
                    <a:lnTo>
                      <a:pt x="330436" y="186280"/>
                    </a:lnTo>
                    <a:cubicBezTo>
                      <a:pt x="504130" y="129154"/>
                      <a:pt x="681374" y="83446"/>
                      <a:pt x="861032" y="49451"/>
                    </a:cubicBezTo>
                    <a:lnTo>
                      <a:pt x="861032" y="0"/>
                    </a:lnTo>
                    <a:cubicBezTo>
                      <a:pt x="675914" y="34643"/>
                      <a:pt x="493306" y="81571"/>
                      <a:pt x="314422" y="140468"/>
                    </a:cubicBezTo>
                    <a:close/>
                  </a:path>
                </a:pathLst>
              </a:custGeom>
              <a:grpFill/>
              <a:ln w="242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1935C23F-CDF4-EE25-EA94-26B91A06C8E5}"/>
                  </a:ext>
                </a:extLst>
              </p:cNvPr>
              <p:cNvSpPr/>
              <p:nvPr/>
            </p:nvSpPr>
            <p:spPr>
              <a:xfrm>
                <a:off x="3810143" y="4785144"/>
                <a:ext cx="966252" cy="388918"/>
              </a:xfrm>
              <a:custGeom>
                <a:avLst/>
                <a:gdLst>
                  <a:gd name="connsiteX0" fmla="*/ 1902641 w 1902641"/>
                  <a:gd name="connsiteY0" fmla="*/ 0 h 765817"/>
                  <a:gd name="connsiteX1" fmla="*/ 1902641 w 1902641"/>
                  <a:gd name="connsiteY1" fmla="*/ 49014 h 765817"/>
                  <a:gd name="connsiteX2" fmla="*/ 1640777 w 1902641"/>
                  <a:gd name="connsiteY2" fmla="*/ 95117 h 765817"/>
                  <a:gd name="connsiteX3" fmla="*/ 1592247 w 1902641"/>
                  <a:gd name="connsiteY3" fmla="*/ 105308 h 765817"/>
                  <a:gd name="connsiteX4" fmla="*/ 84587 w 1902641"/>
                  <a:gd name="connsiteY4" fmla="*/ 765817 h 765817"/>
                  <a:gd name="connsiteX5" fmla="*/ 0 w 1902641"/>
                  <a:gd name="connsiteY5" fmla="*/ 765817 h 765817"/>
                  <a:gd name="connsiteX6" fmla="*/ 19679 w 1902641"/>
                  <a:gd name="connsiteY6" fmla="*/ 751598 h 765817"/>
                  <a:gd name="connsiteX7" fmla="*/ 1538404 w 1902641"/>
                  <a:gd name="connsiteY7" fmla="*/ 68014 h 765817"/>
                  <a:gd name="connsiteX8" fmla="*/ 1538404 w 1902641"/>
                  <a:gd name="connsiteY8" fmla="*/ 67450 h 765817"/>
                  <a:gd name="connsiteX9" fmla="*/ 1595234 w 1902641"/>
                  <a:gd name="connsiteY9" fmla="*/ 55371 h 765817"/>
                  <a:gd name="connsiteX10" fmla="*/ 1595166 w 1902641"/>
                  <a:gd name="connsiteY10" fmla="*/ 55052 h 765817"/>
                  <a:gd name="connsiteX11" fmla="*/ 1630731 w 1902641"/>
                  <a:gd name="connsiteY11" fmla="*/ 47583 h 765817"/>
                  <a:gd name="connsiteX12" fmla="*/ 1902641 w 1902641"/>
                  <a:gd name="connsiteY12" fmla="*/ 0 h 765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02641" h="765817">
                    <a:moveTo>
                      <a:pt x="1902641" y="0"/>
                    </a:moveTo>
                    <a:lnTo>
                      <a:pt x="1902641" y="49014"/>
                    </a:lnTo>
                    <a:cubicBezTo>
                      <a:pt x="1818297" y="61147"/>
                      <a:pt x="1730556" y="76433"/>
                      <a:pt x="1640777" y="95117"/>
                    </a:cubicBezTo>
                    <a:lnTo>
                      <a:pt x="1592247" y="105308"/>
                    </a:lnTo>
                    <a:cubicBezTo>
                      <a:pt x="1051145" y="224181"/>
                      <a:pt x="538809" y="448634"/>
                      <a:pt x="84587" y="765817"/>
                    </a:cubicBezTo>
                    <a:lnTo>
                      <a:pt x="0" y="765817"/>
                    </a:lnTo>
                    <a:lnTo>
                      <a:pt x="19679" y="751598"/>
                    </a:lnTo>
                    <a:cubicBezTo>
                      <a:pt x="476022" y="426044"/>
                      <a:pt x="992122" y="193746"/>
                      <a:pt x="1538404" y="68014"/>
                    </a:cubicBezTo>
                    <a:lnTo>
                      <a:pt x="1538404" y="67450"/>
                    </a:lnTo>
                    <a:lnTo>
                      <a:pt x="1595234" y="55371"/>
                    </a:lnTo>
                    <a:lnTo>
                      <a:pt x="1595166" y="55052"/>
                    </a:lnTo>
                    <a:lnTo>
                      <a:pt x="1630731" y="47583"/>
                    </a:lnTo>
                    <a:cubicBezTo>
                      <a:pt x="1724053" y="28171"/>
                      <a:pt x="1815143" y="12350"/>
                      <a:pt x="1902641" y="0"/>
                    </a:cubicBezTo>
                    <a:close/>
                  </a:path>
                </a:pathLst>
              </a:custGeom>
              <a:grpFill/>
              <a:ln w="242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pic>
            <p:nvPicPr>
              <p:cNvPr id="24" name="Grafik 23" descr="Pflanze Silhouette">
                <a:extLst>
                  <a:ext uri="{FF2B5EF4-FFF2-40B4-BE49-F238E27FC236}">
                    <a16:creationId xmlns:a16="http://schemas.microsoft.com/office/drawing/2014/main" id="{0EF9A5DF-B2F1-ED9E-5AF5-16958D4CFB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4464344" y="4522126"/>
                <a:ext cx="377540" cy="377539"/>
              </a:xfrm>
              <a:custGeom>
                <a:avLst/>
                <a:gdLst>
                  <a:gd name="connsiteX0" fmla="*/ 0 w 1105272"/>
                  <a:gd name="connsiteY0" fmla="*/ 0 h 1105272"/>
                  <a:gd name="connsiteX1" fmla="*/ 1105272 w 1105272"/>
                  <a:gd name="connsiteY1" fmla="*/ 0 h 1105272"/>
                  <a:gd name="connsiteX2" fmla="*/ 1105272 w 1105272"/>
                  <a:gd name="connsiteY2" fmla="*/ 857311 h 1105272"/>
                  <a:gd name="connsiteX3" fmla="*/ 196754 w 1105272"/>
                  <a:gd name="connsiteY3" fmla="*/ 857311 h 1105272"/>
                  <a:gd name="connsiteX4" fmla="*/ 196754 w 1105272"/>
                  <a:gd name="connsiteY4" fmla="*/ 1037311 h 1105272"/>
                  <a:gd name="connsiteX5" fmla="*/ 1105272 w 1105272"/>
                  <a:gd name="connsiteY5" fmla="*/ 1037311 h 1105272"/>
                  <a:gd name="connsiteX6" fmla="*/ 1105272 w 1105272"/>
                  <a:gd name="connsiteY6" fmla="*/ 1105272 h 1105272"/>
                  <a:gd name="connsiteX7" fmla="*/ 0 w 1105272"/>
                  <a:gd name="connsiteY7" fmla="*/ 1105272 h 1105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05272" h="1105272">
                    <a:moveTo>
                      <a:pt x="0" y="0"/>
                    </a:moveTo>
                    <a:lnTo>
                      <a:pt x="1105272" y="0"/>
                    </a:lnTo>
                    <a:lnTo>
                      <a:pt x="1105272" y="857311"/>
                    </a:lnTo>
                    <a:lnTo>
                      <a:pt x="196754" y="857311"/>
                    </a:lnTo>
                    <a:lnTo>
                      <a:pt x="196754" y="1037311"/>
                    </a:lnTo>
                    <a:lnTo>
                      <a:pt x="1105272" y="1037311"/>
                    </a:lnTo>
                    <a:lnTo>
                      <a:pt x="1105272" y="1105272"/>
                    </a:lnTo>
                    <a:lnTo>
                      <a:pt x="0" y="1105272"/>
                    </a:lnTo>
                    <a:close/>
                  </a:path>
                </a:pathLst>
              </a:custGeom>
            </p:spPr>
          </p:pic>
        </p:grpSp>
      </p:grpSp>
      <p:sp>
        <p:nvSpPr>
          <p:cNvPr id="25" name="Textfeld 24">
            <a:extLst>
              <a:ext uri="{FF2B5EF4-FFF2-40B4-BE49-F238E27FC236}">
                <a16:creationId xmlns:a16="http://schemas.microsoft.com/office/drawing/2014/main" id="{C7F419C1-83BB-7FEB-1563-D52903361FED}"/>
              </a:ext>
            </a:extLst>
          </p:cNvPr>
          <p:cNvSpPr txBox="1"/>
          <p:nvPr/>
        </p:nvSpPr>
        <p:spPr>
          <a:xfrm>
            <a:off x="1962994" y="1431047"/>
            <a:ext cx="5290297" cy="383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b="1" dirty="0"/>
              <a:t>Verwertung und Logistik von Fremdböden aus Großprojekten </a:t>
            </a:r>
            <a:r>
              <a:rPr lang="de-DE" sz="1600" dirty="0"/>
              <a:t>(z.B. Tunnelbaumaßnahmen) für die Wiedernutzbarmachung</a:t>
            </a:r>
          </a:p>
          <a:p>
            <a:pPr marL="285750" indent="-2857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Steuerung der Verkehrsbelastung auf Baustellen für LKW und Bahn</a:t>
            </a:r>
          </a:p>
          <a:p>
            <a:pPr marL="285750" indent="-2857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Just in Time Beladung an Baustelle durch hohen Mengenstrom erforderlich</a:t>
            </a:r>
          </a:p>
          <a:p>
            <a:pPr marL="285750" indent="-2857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b="1" dirty="0"/>
              <a:t>Infrastruktur und Knowhow </a:t>
            </a:r>
          </a:p>
          <a:p>
            <a:pPr marL="285750" indent="-2857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Hohe Annahmekapazität</a:t>
            </a:r>
          </a:p>
          <a:p>
            <a:pPr marL="285750" indent="-2857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Deklaration und Nachweisführung über MIBRAG-GID bei Bedarf mit Zwischenlagerung</a:t>
            </a:r>
          </a:p>
          <a:p>
            <a:pPr marL="285750" indent="-2857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Nachhaltige Nutzung der Böden wird sichergestellt</a:t>
            </a:r>
          </a:p>
          <a:p>
            <a:pPr marL="285750" indent="-2857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b="1" dirty="0"/>
              <a:t>Erwarteter Arbeitsplatzeffekt: bis zu 60 MA </a:t>
            </a: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5C79D529-48F3-6C20-5B75-AC6270CD94CA}"/>
              </a:ext>
            </a:extLst>
          </p:cNvPr>
          <p:cNvCxnSpPr/>
          <p:nvPr/>
        </p:nvCxnSpPr>
        <p:spPr>
          <a:xfrm>
            <a:off x="1919536" y="1381017"/>
            <a:ext cx="0" cy="4280231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ED8A1EE-ECDC-F667-409F-88E246721DDA}"/>
              </a:ext>
            </a:extLst>
          </p:cNvPr>
          <p:cNvCxnSpPr/>
          <p:nvPr/>
        </p:nvCxnSpPr>
        <p:spPr>
          <a:xfrm>
            <a:off x="7377386" y="1381017"/>
            <a:ext cx="0" cy="4280231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4553D431-C916-DDE3-3766-A56F611F6FA0}"/>
              </a:ext>
            </a:extLst>
          </p:cNvPr>
          <p:cNvGrpSpPr/>
          <p:nvPr/>
        </p:nvGrpSpPr>
        <p:grpSpPr>
          <a:xfrm>
            <a:off x="9072694" y="4358090"/>
            <a:ext cx="1080000" cy="1080000"/>
            <a:chOff x="9008494" y="3644327"/>
            <a:chExt cx="1080000" cy="1080000"/>
          </a:xfrm>
        </p:grpSpPr>
        <p:pic>
          <p:nvPicPr>
            <p:cNvPr id="10" name="Grafik 9" descr="Hügelszenerie Silhouette">
              <a:extLst>
                <a:ext uri="{FF2B5EF4-FFF2-40B4-BE49-F238E27FC236}">
                  <a16:creationId xmlns:a16="http://schemas.microsoft.com/office/drawing/2014/main" id="{524295DE-EC25-2C18-314C-9FC87656F87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170494" y="3863775"/>
              <a:ext cx="756000" cy="756000"/>
            </a:xfrm>
            <a:prstGeom prst="rect">
              <a:avLst/>
            </a:prstGeom>
          </p:spPr>
        </p:pic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3EB4066F-9DB4-4D18-2757-F444C1E0006B}"/>
                </a:ext>
              </a:extLst>
            </p:cNvPr>
            <p:cNvSpPr/>
            <p:nvPr/>
          </p:nvSpPr>
          <p:spPr>
            <a:xfrm>
              <a:off x="9008494" y="3644327"/>
              <a:ext cx="1080000" cy="1080000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17396033-6381-0895-A9E5-E9DD20D18DEC}"/>
              </a:ext>
            </a:extLst>
          </p:cNvPr>
          <p:cNvGrpSpPr/>
          <p:nvPr/>
        </p:nvGrpSpPr>
        <p:grpSpPr>
          <a:xfrm>
            <a:off x="9072694" y="1682087"/>
            <a:ext cx="1080000" cy="1080000"/>
            <a:chOff x="8256358" y="2004409"/>
            <a:chExt cx="1080000" cy="1080000"/>
          </a:xfrm>
        </p:grpSpPr>
        <p:pic>
          <p:nvPicPr>
            <p:cNvPr id="30" name="Grafik 29" descr="Bagger mit einfarbiger Füllung">
              <a:extLst>
                <a:ext uri="{FF2B5EF4-FFF2-40B4-BE49-F238E27FC236}">
                  <a16:creationId xmlns:a16="http://schemas.microsoft.com/office/drawing/2014/main" id="{26340349-4C86-71C4-61D8-52424A8A73B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444863" y="2141706"/>
              <a:ext cx="756000" cy="756000"/>
            </a:xfrm>
            <a:prstGeom prst="rect">
              <a:avLst/>
            </a:prstGeom>
          </p:spPr>
        </p:pic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C3C820DF-E213-DFA9-C3CD-7FDF5C38C2E9}"/>
                </a:ext>
              </a:extLst>
            </p:cNvPr>
            <p:cNvSpPr/>
            <p:nvPr/>
          </p:nvSpPr>
          <p:spPr>
            <a:xfrm>
              <a:off x="8256358" y="2004409"/>
              <a:ext cx="1080000" cy="1080000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95D94BA0-0ADB-C369-3FAB-DA6ECAC77A32}"/>
              </a:ext>
            </a:extLst>
          </p:cNvPr>
          <p:cNvGrpSpPr/>
          <p:nvPr/>
        </p:nvGrpSpPr>
        <p:grpSpPr>
          <a:xfrm>
            <a:off x="9072694" y="3020317"/>
            <a:ext cx="1080000" cy="1080000"/>
            <a:chOff x="10333782" y="2488612"/>
            <a:chExt cx="1080000" cy="1080000"/>
          </a:xfrm>
        </p:grpSpPr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E81314DD-C0B2-456A-EC37-A18C776E5C53}"/>
                </a:ext>
              </a:extLst>
            </p:cNvPr>
            <p:cNvGrpSpPr/>
            <p:nvPr/>
          </p:nvGrpSpPr>
          <p:grpSpPr>
            <a:xfrm>
              <a:off x="10552027" y="2692385"/>
              <a:ext cx="756000" cy="756000"/>
              <a:chOff x="10314487" y="2651632"/>
              <a:chExt cx="756000" cy="756000"/>
            </a:xfrm>
          </p:grpSpPr>
          <p:pic>
            <p:nvPicPr>
              <p:cNvPr id="32" name="Grafik 31" descr="Kipper mit einfarbiger Füllung">
                <a:extLst>
                  <a:ext uri="{FF2B5EF4-FFF2-40B4-BE49-F238E27FC236}">
                    <a16:creationId xmlns:a16="http://schemas.microsoft.com/office/drawing/2014/main" id="{282C751D-5B25-D8D6-BD3D-86FCA1AAD8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0314487" y="2651632"/>
                <a:ext cx="756000" cy="756000"/>
              </a:xfrm>
              <a:prstGeom prst="rect">
                <a:avLst/>
              </a:prstGeom>
            </p:spPr>
          </p:pic>
          <p:pic>
            <p:nvPicPr>
              <p:cNvPr id="37" name="Grafik 36" descr="Rohstoffe mit einfarbiger Füllung">
                <a:extLst>
                  <a:ext uri="{FF2B5EF4-FFF2-40B4-BE49-F238E27FC236}">
                    <a16:creationId xmlns:a16="http://schemas.microsoft.com/office/drawing/2014/main" id="{EAE555DE-7838-BA0B-6231-F30D75D9CD3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rcRect l="18429" t="9422" r="20781" b="65700"/>
              <a:stretch/>
            </p:blipFill>
            <p:spPr>
              <a:xfrm>
                <a:off x="10347829" y="2690624"/>
                <a:ext cx="351861" cy="144000"/>
              </a:xfrm>
              <a:prstGeom prst="rect">
                <a:avLst/>
              </a:prstGeom>
            </p:spPr>
          </p:pic>
        </p:grp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433F0234-F66A-0B01-E279-C2DBF3F44825}"/>
                </a:ext>
              </a:extLst>
            </p:cNvPr>
            <p:cNvSpPr/>
            <p:nvPr/>
          </p:nvSpPr>
          <p:spPr>
            <a:xfrm>
              <a:off x="10333782" y="2488612"/>
              <a:ext cx="1080000" cy="1080000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4" name="Grafik 43" descr="Aktualisieren mit einfarbiger Füllung">
            <a:extLst>
              <a:ext uri="{FF2B5EF4-FFF2-40B4-BE49-F238E27FC236}">
                <a16:creationId xmlns:a16="http://schemas.microsoft.com/office/drawing/2014/main" id="{F1A894B9-1212-8406-9224-88354F701A2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>
            <a:fillRect/>
          </a:stretch>
        </p:blipFill>
        <p:spPr>
          <a:xfrm rot="14032216">
            <a:off x="8561849" y="2375050"/>
            <a:ext cx="914400" cy="914400"/>
          </a:xfrm>
          <a:custGeom>
            <a:avLst/>
            <a:gdLst>
              <a:gd name="connsiteX0" fmla="*/ 914400 w 914400"/>
              <a:gd name="connsiteY0" fmla="*/ 914400 h 914400"/>
              <a:gd name="connsiteX1" fmla="*/ 798309 w 914400"/>
              <a:gd name="connsiteY1" fmla="*/ 914400 h 914400"/>
              <a:gd name="connsiteX2" fmla="*/ 668565 w 914400"/>
              <a:gd name="connsiteY2" fmla="*/ 765805 h 914400"/>
              <a:gd name="connsiteX3" fmla="*/ 688032 w 914400"/>
              <a:gd name="connsiteY3" fmla="*/ 742399 h 914400"/>
              <a:gd name="connsiteX4" fmla="*/ 547698 w 914400"/>
              <a:gd name="connsiteY4" fmla="*/ 625688 h 914400"/>
              <a:gd name="connsiteX5" fmla="*/ 546979 w 914400"/>
              <a:gd name="connsiteY5" fmla="*/ 626553 h 914400"/>
              <a:gd name="connsiteX6" fmla="*/ 344619 w 914400"/>
              <a:gd name="connsiteY6" fmla="*/ 394791 h 914400"/>
              <a:gd name="connsiteX7" fmla="*/ 0 w 914400"/>
              <a:gd name="connsiteY7" fmla="*/ 695691 h 914400"/>
              <a:gd name="connsiteX8" fmla="*/ 0 w 914400"/>
              <a:gd name="connsiteY8" fmla="*/ 0 h 914400"/>
              <a:gd name="connsiteX9" fmla="*/ 914400 w 914400"/>
              <a:gd name="connsiteY9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798309" y="914400"/>
                </a:lnTo>
                <a:lnTo>
                  <a:pt x="668565" y="765805"/>
                </a:lnTo>
                <a:lnTo>
                  <a:pt x="688032" y="742399"/>
                </a:lnTo>
                <a:lnTo>
                  <a:pt x="547698" y="625688"/>
                </a:lnTo>
                <a:lnTo>
                  <a:pt x="546979" y="626553"/>
                </a:lnTo>
                <a:lnTo>
                  <a:pt x="344619" y="394791"/>
                </a:lnTo>
                <a:lnTo>
                  <a:pt x="0" y="695691"/>
                </a:lnTo>
                <a:lnTo>
                  <a:pt x="0" y="0"/>
                </a:lnTo>
                <a:lnTo>
                  <a:pt x="914400" y="0"/>
                </a:lnTo>
                <a:close/>
              </a:path>
            </a:pathLst>
          </a:custGeom>
        </p:spPr>
      </p:pic>
      <p:pic>
        <p:nvPicPr>
          <p:cNvPr id="45" name="Grafik 44" descr="Aktualisieren mit einfarbiger Füllung">
            <a:extLst>
              <a:ext uri="{FF2B5EF4-FFF2-40B4-BE49-F238E27FC236}">
                <a16:creationId xmlns:a16="http://schemas.microsoft.com/office/drawing/2014/main" id="{80C229FF-E3C8-F909-18F5-11FEA0B16E2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>
            <a:fillRect/>
          </a:stretch>
        </p:blipFill>
        <p:spPr>
          <a:xfrm rot="7567784" flipH="1">
            <a:off x="9776495" y="3723760"/>
            <a:ext cx="914400" cy="914400"/>
          </a:xfrm>
          <a:custGeom>
            <a:avLst/>
            <a:gdLst>
              <a:gd name="connsiteX0" fmla="*/ 914400 w 914400"/>
              <a:gd name="connsiteY0" fmla="*/ 914400 h 914400"/>
              <a:gd name="connsiteX1" fmla="*/ 798309 w 914400"/>
              <a:gd name="connsiteY1" fmla="*/ 914400 h 914400"/>
              <a:gd name="connsiteX2" fmla="*/ 668565 w 914400"/>
              <a:gd name="connsiteY2" fmla="*/ 765805 h 914400"/>
              <a:gd name="connsiteX3" fmla="*/ 688032 w 914400"/>
              <a:gd name="connsiteY3" fmla="*/ 742399 h 914400"/>
              <a:gd name="connsiteX4" fmla="*/ 547698 w 914400"/>
              <a:gd name="connsiteY4" fmla="*/ 625688 h 914400"/>
              <a:gd name="connsiteX5" fmla="*/ 546979 w 914400"/>
              <a:gd name="connsiteY5" fmla="*/ 626553 h 914400"/>
              <a:gd name="connsiteX6" fmla="*/ 344619 w 914400"/>
              <a:gd name="connsiteY6" fmla="*/ 394791 h 914400"/>
              <a:gd name="connsiteX7" fmla="*/ 0 w 914400"/>
              <a:gd name="connsiteY7" fmla="*/ 695691 h 914400"/>
              <a:gd name="connsiteX8" fmla="*/ 0 w 914400"/>
              <a:gd name="connsiteY8" fmla="*/ 0 h 914400"/>
              <a:gd name="connsiteX9" fmla="*/ 914400 w 914400"/>
              <a:gd name="connsiteY9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" h="914400">
                <a:moveTo>
                  <a:pt x="914400" y="914400"/>
                </a:moveTo>
                <a:lnTo>
                  <a:pt x="798309" y="914400"/>
                </a:lnTo>
                <a:lnTo>
                  <a:pt x="668565" y="765805"/>
                </a:lnTo>
                <a:lnTo>
                  <a:pt x="688032" y="742399"/>
                </a:lnTo>
                <a:lnTo>
                  <a:pt x="547698" y="625688"/>
                </a:lnTo>
                <a:lnTo>
                  <a:pt x="546979" y="626553"/>
                </a:lnTo>
                <a:lnTo>
                  <a:pt x="344619" y="394791"/>
                </a:lnTo>
                <a:lnTo>
                  <a:pt x="0" y="695691"/>
                </a:lnTo>
                <a:lnTo>
                  <a:pt x="0" y="0"/>
                </a:lnTo>
                <a:lnTo>
                  <a:pt x="914400" y="0"/>
                </a:lnTo>
                <a:close/>
              </a:path>
            </a:pathLst>
          </a:custGeom>
        </p:spPr>
      </p:pic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62E01929-7EDA-B4E7-3BD5-3B7CB39FF506}"/>
              </a:ext>
            </a:extLst>
          </p:cNvPr>
          <p:cNvGrpSpPr/>
          <p:nvPr/>
        </p:nvGrpSpPr>
        <p:grpSpPr>
          <a:xfrm>
            <a:off x="521969" y="4148176"/>
            <a:ext cx="1099828" cy="749914"/>
            <a:chOff x="2060777" y="4831456"/>
            <a:chExt cx="1099828" cy="749914"/>
          </a:xfrm>
        </p:grpSpPr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4CD89CF0-C3A3-82E1-4B9C-E303947D7CD8}"/>
                </a:ext>
              </a:extLst>
            </p:cNvPr>
            <p:cNvGrpSpPr/>
            <p:nvPr/>
          </p:nvGrpSpPr>
          <p:grpSpPr>
            <a:xfrm>
              <a:off x="2060777" y="4831456"/>
              <a:ext cx="375547" cy="614597"/>
              <a:chOff x="9870656" y="4436810"/>
              <a:chExt cx="1113505" cy="1822293"/>
            </a:xfrm>
          </p:grpSpPr>
          <p:sp>
            <p:nvSpPr>
              <p:cNvPr id="51" name="Freihandform 78">
                <a:extLst>
                  <a:ext uri="{FF2B5EF4-FFF2-40B4-BE49-F238E27FC236}">
                    <a16:creationId xmlns:a16="http://schemas.microsoft.com/office/drawing/2014/main" id="{78EECE00-DC42-6762-D2F3-FD067C1CF065}"/>
                  </a:ext>
                </a:extLst>
              </p:cNvPr>
              <p:cNvSpPr/>
              <p:nvPr/>
            </p:nvSpPr>
            <p:spPr>
              <a:xfrm>
                <a:off x="9870656" y="4614668"/>
                <a:ext cx="1113505" cy="1644435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52" name="Gruppieren 51">
                <a:extLst>
                  <a:ext uri="{FF2B5EF4-FFF2-40B4-BE49-F238E27FC236}">
                    <a16:creationId xmlns:a16="http://schemas.microsoft.com/office/drawing/2014/main" id="{353F9E3F-9EA4-9C38-9A9A-639CD5C5BE84}"/>
                  </a:ext>
                </a:extLst>
              </p:cNvPr>
              <p:cNvGrpSpPr/>
              <p:nvPr/>
            </p:nvGrpSpPr>
            <p:grpSpPr>
              <a:xfrm>
                <a:off x="9902047" y="4436810"/>
                <a:ext cx="1043720" cy="546975"/>
                <a:chOff x="8472264" y="2426134"/>
                <a:chExt cx="1043720" cy="546975"/>
              </a:xfrm>
            </p:grpSpPr>
            <p:sp>
              <p:nvSpPr>
                <p:cNvPr id="53" name="Freihandform: Form 52">
                  <a:extLst>
                    <a:ext uri="{FF2B5EF4-FFF2-40B4-BE49-F238E27FC236}">
                      <a16:creationId xmlns:a16="http://schemas.microsoft.com/office/drawing/2014/main" id="{EC56C734-CA9F-C552-F3FE-E47147098D70}"/>
                    </a:ext>
                  </a:extLst>
                </p:cNvPr>
                <p:cNvSpPr/>
                <p:nvPr/>
              </p:nvSpPr>
              <p:spPr>
                <a:xfrm>
                  <a:off x="8599858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54" name="Freihandform: Form 53" descr="Bauarbeiter Silhouette">
                  <a:extLst>
                    <a:ext uri="{FF2B5EF4-FFF2-40B4-BE49-F238E27FC236}">
                      <a16:creationId xmlns:a16="http://schemas.microsoft.com/office/drawing/2014/main" id="{87269C26-0687-8906-74BC-2ECEDF6FF9B3}"/>
                    </a:ext>
                  </a:extLst>
                </p:cNvPr>
                <p:cNvSpPr/>
                <p:nvPr/>
              </p:nvSpPr>
              <p:spPr>
                <a:xfrm>
                  <a:off x="8472264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96B786A3-791B-A681-DE17-535A32F7720B}"/>
                </a:ext>
              </a:extLst>
            </p:cNvPr>
            <p:cNvGrpSpPr/>
            <p:nvPr/>
          </p:nvGrpSpPr>
          <p:grpSpPr>
            <a:xfrm>
              <a:off x="2480495" y="5055808"/>
              <a:ext cx="310082" cy="525562"/>
              <a:chOff x="11067982" y="4739041"/>
              <a:chExt cx="783930" cy="1328694"/>
            </a:xfrm>
          </p:grpSpPr>
          <p:sp>
            <p:nvSpPr>
              <p:cNvPr id="47" name="Freihandform 76">
                <a:extLst>
                  <a:ext uri="{FF2B5EF4-FFF2-40B4-BE49-F238E27FC236}">
                    <a16:creationId xmlns:a16="http://schemas.microsoft.com/office/drawing/2014/main" id="{CCD6269C-4F2B-3ABF-9E6C-609A82534A98}"/>
                  </a:ext>
                </a:extLst>
              </p:cNvPr>
              <p:cNvSpPr/>
              <p:nvPr/>
            </p:nvSpPr>
            <p:spPr>
              <a:xfrm>
                <a:off x="11067982" y="4910022"/>
                <a:ext cx="783930" cy="1157713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48" name="Gruppieren 47">
                <a:extLst>
                  <a:ext uri="{FF2B5EF4-FFF2-40B4-BE49-F238E27FC236}">
                    <a16:creationId xmlns:a16="http://schemas.microsoft.com/office/drawing/2014/main" id="{136790B5-579B-7679-3E75-C2845B4286C0}"/>
                  </a:ext>
                </a:extLst>
              </p:cNvPr>
              <p:cNvGrpSpPr/>
              <p:nvPr/>
            </p:nvGrpSpPr>
            <p:grpSpPr>
              <a:xfrm>
                <a:off x="11078280" y="4739041"/>
                <a:ext cx="768383" cy="402681"/>
                <a:chOff x="9650969" y="2426134"/>
                <a:chExt cx="1043720" cy="546975"/>
              </a:xfrm>
            </p:grpSpPr>
            <p:sp>
              <p:nvSpPr>
                <p:cNvPr id="49" name="Freihandform: Form 48">
                  <a:extLst>
                    <a:ext uri="{FF2B5EF4-FFF2-40B4-BE49-F238E27FC236}">
                      <a16:creationId xmlns:a16="http://schemas.microsoft.com/office/drawing/2014/main" id="{67E1D126-A9D9-B241-6721-EE79D2D03376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50" name="Freihandform: Form 49" descr="Bauarbeiter Silhouette">
                  <a:extLst>
                    <a:ext uri="{FF2B5EF4-FFF2-40B4-BE49-F238E27FC236}">
                      <a16:creationId xmlns:a16="http://schemas.microsoft.com/office/drawing/2014/main" id="{0F7F510E-3ACB-D91C-2FA9-C7EAC7826E46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F36A69FA-A124-0B44-BABE-EE99F529AFA6}"/>
                </a:ext>
              </a:extLst>
            </p:cNvPr>
            <p:cNvGrpSpPr/>
            <p:nvPr/>
          </p:nvGrpSpPr>
          <p:grpSpPr>
            <a:xfrm>
              <a:off x="2850523" y="5055808"/>
              <a:ext cx="310082" cy="525562"/>
              <a:chOff x="11067982" y="4739041"/>
              <a:chExt cx="783930" cy="1328694"/>
            </a:xfrm>
          </p:grpSpPr>
          <p:sp>
            <p:nvSpPr>
              <p:cNvPr id="33" name="Freihandform 76">
                <a:extLst>
                  <a:ext uri="{FF2B5EF4-FFF2-40B4-BE49-F238E27FC236}">
                    <a16:creationId xmlns:a16="http://schemas.microsoft.com/office/drawing/2014/main" id="{E5EE2923-CE96-FF9F-E4EA-7584AF8ED236}"/>
                  </a:ext>
                </a:extLst>
              </p:cNvPr>
              <p:cNvSpPr/>
              <p:nvPr/>
            </p:nvSpPr>
            <p:spPr>
              <a:xfrm>
                <a:off x="11067982" y="4910022"/>
                <a:ext cx="783930" cy="1157713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34" name="Gruppieren 33">
                <a:extLst>
                  <a:ext uri="{FF2B5EF4-FFF2-40B4-BE49-F238E27FC236}">
                    <a16:creationId xmlns:a16="http://schemas.microsoft.com/office/drawing/2014/main" id="{FBC06F88-8B24-A32A-DCB8-F4FE1694E8A2}"/>
                  </a:ext>
                </a:extLst>
              </p:cNvPr>
              <p:cNvGrpSpPr/>
              <p:nvPr/>
            </p:nvGrpSpPr>
            <p:grpSpPr>
              <a:xfrm>
                <a:off x="11078280" y="4739041"/>
                <a:ext cx="768383" cy="402681"/>
                <a:chOff x="9650969" y="2426134"/>
                <a:chExt cx="1043720" cy="546975"/>
              </a:xfrm>
            </p:grpSpPr>
            <p:sp>
              <p:nvSpPr>
                <p:cNvPr id="36" name="Freihandform: Form 35">
                  <a:extLst>
                    <a:ext uri="{FF2B5EF4-FFF2-40B4-BE49-F238E27FC236}">
                      <a16:creationId xmlns:a16="http://schemas.microsoft.com/office/drawing/2014/main" id="{BF94688C-0105-99FA-DC75-F448ED286805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6" name="Freihandform: Form 45" descr="Bauarbeiter Silhouette">
                  <a:extLst>
                    <a:ext uri="{FF2B5EF4-FFF2-40B4-BE49-F238E27FC236}">
                      <a16:creationId xmlns:a16="http://schemas.microsoft.com/office/drawing/2014/main" id="{CFE42CA2-DA21-39B9-D376-C5A0B896AA4D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684D031-8694-8D22-811B-1B9E9560F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</a:p>
        </p:txBody>
      </p:sp>
    </p:spTree>
    <p:extLst>
      <p:ext uri="{BB962C8B-B14F-4D97-AF65-F5344CB8AC3E}">
        <p14:creationId xmlns:p14="http://schemas.microsoft.com/office/powerpoint/2010/main" val="24589872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8" imgH="278" progId="TCLayout.ActiveDocument.1">
                  <p:embed/>
                </p:oleObj>
              </mc:Choice>
              <mc:Fallback>
                <p:oleObj name="think-cell Folie" r:id="rId3" imgW="278" imgH="27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IBRAG Energy Group</a:t>
            </a:r>
            <a:br>
              <a:rPr lang="de-DE"/>
            </a:br>
            <a:r>
              <a:rPr lang="de-DE" sz="2000"/>
              <a:t>Geschäftsfeld Dienstleistungen: Bergbaunahe Ingenieurleistung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17</a:t>
            </a:fld>
            <a:endParaRPr lang="de-DE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96DDCCC9-785A-C707-380F-2B450878EED9}"/>
              </a:ext>
            </a:extLst>
          </p:cNvPr>
          <p:cNvGrpSpPr/>
          <p:nvPr/>
        </p:nvGrpSpPr>
        <p:grpSpPr>
          <a:xfrm>
            <a:off x="9831005" y="2754421"/>
            <a:ext cx="2074880" cy="1020816"/>
            <a:chOff x="9818657" y="1192107"/>
            <a:chExt cx="2074880" cy="1020816"/>
          </a:xfrm>
        </p:grpSpPr>
        <p:pic>
          <p:nvPicPr>
            <p:cNvPr id="21" name="Grafik 20" descr="James Fallows gives update to his “Civilization’s Infrastructure ...">
              <a:extLst>
                <a:ext uri="{FF2B5EF4-FFF2-40B4-BE49-F238E27FC236}">
                  <a16:creationId xmlns:a16="http://schemas.microsoft.com/office/drawing/2014/main" id="{F296F1B1-9489-F8BC-B200-0909E5D5FA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hq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965"/>
            <a:stretch/>
          </p:blipFill>
          <p:spPr>
            <a:xfrm>
              <a:off x="9818657" y="1192107"/>
              <a:ext cx="2074880" cy="102081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B64323EE-C4B4-39F5-E8AA-01522DCC87A1}"/>
                </a:ext>
              </a:extLst>
            </p:cNvPr>
            <p:cNvSpPr txBox="1"/>
            <p:nvPr/>
          </p:nvSpPr>
          <p:spPr>
            <a:xfrm>
              <a:off x="10170712" y="1500756"/>
              <a:ext cx="1435008" cy="369332"/>
            </a:xfrm>
            <a:prstGeom prst="rect">
              <a:avLst/>
            </a:prstGeom>
            <a:noFill/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de-DE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rmala UI" panose="020B0502040204020203" pitchFamily="34" charset="0"/>
                  <a:ea typeface="Nirmala UI" panose="020B0502040204020203" pitchFamily="34" charset="0"/>
                  <a:cs typeface="Nirmala UI" panose="020B0502040204020203" pitchFamily="34" charset="0"/>
                </a:rPr>
                <a:t>Infrastruktur</a:t>
              </a: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9BC31AF0-0DA6-0DE2-28B7-C67C970B5DB7}"/>
              </a:ext>
            </a:extLst>
          </p:cNvPr>
          <p:cNvGrpSpPr/>
          <p:nvPr/>
        </p:nvGrpSpPr>
        <p:grpSpPr>
          <a:xfrm>
            <a:off x="9828774" y="1494948"/>
            <a:ext cx="2047777" cy="1065336"/>
            <a:chOff x="8087543" y="3840799"/>
            <a:chExt cx="2047777" cy="1065336"/>
          </a:xfrm>
        </p:grpSpPr>
        <p:pic>
          <p:nvPicPr>
            <p:cNvPr id="20" name="Grafik 19" descr="Kostenlose Bild: Umwelt, Tau, Feuchtigkeit, Natur, Flora, grünes Blatt ...">
              <a:extLst>
                <a:ext uri="{FF2B5EF4-FFF2-40B4-BE49-F238E27FC236}">
                  <a16:creationId xmlns:a16="http://schemas.microsoft.com/office/drawing/2014/main" id="{58278591-CD00-2657-D8F7-8B88605E1DF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87543" y="3840799"/>
              <a:ext cx="2047777" cy="106533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C72DFF1E-9CAD-5AF6-4BC2-A6EB1289D7D0}"/>
                </a:ext>
              </a:extLst>
            </p:cNvPr>
            <p:cNvSpPr txBox="1"/>
            <p:nvPr/>
          </p:nvSpPr>
          <p:spPr>
            <a:xfrm>
              <a:off x="8631289" y="4159558"/>
              <a:ext cx="963725" cy="369332"/>
            </a:xfrm>
            <a:prstGeom prst="rect">
              <a:avLst/>
            </a:prstGeom>
            <a:noFill/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de-DE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rmala UI" panose="020B0502040204020203" pitchFamily="34" charset="0"/>
                  <a:ea typeface="Nirmala UI" panose="020B0502040204020203" pitchFamily="34" charset="0"/>
                  <a:cs typeface="Nirmala UI" panose="020B0502040204020203" pitchFamily="34" charset="0"/>
                </a:rPr>
                <a:t>Umwelt</a:t>
              </a: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8B150AB9-370B-F7A5-37FB-3582CBA11119}"/>
              </a:ext>
            </a:extLst>
          </p:cNvPr>
          <p:cNvGrpSpPr/>
          <p:nvPr/>
        </p:nvGrpSpPr>
        <p:grpSpPr>
          <a:xfrm>
            <a:off x="7611463" y="1494948"/>
            <a:ext cx="2061288" cy="1074138"/>
            <a:chOff x="7682998" y="1254776"/>
            <a:chExt cx="2061288" cy="1074138"/>
          </a:xfrm>
        </p:grpSpPr>
        <p:pic>
          <p:nvPicPr>
            <p:cNvPr id="19" name="Grafik 18" descr="Kostenloses Foto zum Thema: blaues wasser, dunkelblau, h2o">
              <a:extLst>
                <a:ext uri="{FF2B5EF4-FFF2-40B4-BE49-F238E27FC236}">
                  <a16:creationId xmlns:a16="http://schemas.microsoft.com/office/drawing/2014/main" id="{F4520A50-3CE9-0F5A-C326-4ECD2592A7C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82998" y="1254776"/>
              <a:ext cx="2061288" cy="1074138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118664D9-D736-768A-3965-FA36FBC8FCD5}"/>
                </a:ext>
              </a:extLst>
            </p:cNvPr>
            <p:cNvSpPr txBox="1"/>
            <p:nvPr/>
          </p:nvSpPr>
          <p:spPr>
            <a:xfrm>
              <a:off x="8306316" y="1598071"/>
              <a:ext cx="914033" cy="369332"/>
            </a:xfrm>
            <a:prstGeom prst="rect">
              <a:avLst/>
            </a:prstGeom>
            <a:noFill/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de-DE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rmala UI" panose="020B0502040204020203" pitchFamily="34" charset="0"/>
                  <a:ea typeface="Nirmala UI" panose="020B0502040204020203" pitchFamily="34" charset="0"/>
                  <a:cs typeface="Nirmala UI" panose="020B0502040204020203" pitchFamily="34" charset="0"/>
                </a:rPr>
                <a:t>Wasser</a:t>
              </a: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D805A574-73C1-53E4-2142-1AC544BCAE41}"/>
              </a:ext>
            </a:extLst>
          </p:cNvPr>
          <p:cNvGrpSpPr/>
          <p:nvPr/>
        </p:nvGrpSpPr>
        <p:grpSpPr>
          <a:xfrm>
            <a:off x="7620461" y="2749108"/>
            <a:ext cx="2055883" cy="1020816"/>
            <a:chOff x="7761504" y="2547788"/>
            <a:chExt cx="2055883" cy="1020816"/>
          </a:xfrm>
        </p:grpSpPr>
        <p:pic>
          <p:nvPicPr>
            <p:cNvPr id="18" name="Grafik 17" descr="Kostenloses Foto zum Thema: boden, erde, rissig">
              <a:extLst>
                <a:ext uri="{FF2B5EF4-FFF2-40B4-BE49-F238E27FC236}">
                  <a16:creationId xmlns:a16="http://schemas.microsoft.com/office/drawing/2014/main" id="{AB5C2C65-3678-F8E5-47EF-DD59CB1217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hq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965"/>
            <a:stretch/>
          </p:blipFill>
          <p:spPr>
            <a:xfrm>
              <a:off x="7761504" y="2547788"/>
              <a:ext cx="2055883" cy="102081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6D26EA31-4E5C-5A04-AD70-0F95357277FA}"/>
                </a:ext>
              </a:extLst>
            </p:cNvPr>
            <p:cNvSpPr txBox="1"/>
            <p:nvPr/>
          </p:nvSpPr>
          <p:spPr>
            <a:xfrm>
              <a:off x="8472264" y="2911749"/>
              <a:ext cx="838691" cy="369332"/>
            </a:xfrm>
            <a:prstGeom prst="rect">
              <a:avLst/>
            </a:prstGeom>
            <a:noFill/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</p:spPr>
          <p:txBody>
            <a:bodyPr wrap="none" rtlCol="0">
              <a:spAutoFit/>
            </a:bodyPr>
            <a:lstStyle/>
            <a:p>
              <a:r>
                <a:rPr lang="de-DE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rmala UI" panose="020B0502040204020203" pitchFamily="34" charset="0"/>
                  <a:ea typeface="Nirmala UI" panose="020B0502040204020203" pitchFamily="34" charset="0"/>
                  <a:cs typeface="Nirmala UI" panose="020B0502040204020203" pitchFamily="34" charset="0"/>
                </a:rPr>
                <a:t>Boden</a:t>
              </a:r>
            </a:p>
          </p:txBody>
        </p:sp>
      </p:grpSp>
      <p:sp>
        <p:nvSpPr>
          <p:cNvPr id="8" name="Textfeld 7">
            <a:extLst>
              <a:ext uri="{FF2B5EF4-FFF2-40B4-BE49-F238E27FC236}">
                <a16:creationId xmlns:a16="http://schemas.microsoft.com/office/drawing/2014/main" id="{26FAEEB8-FD29-8748-41F4-12B57F4A5E64}"/>
              </a:ext>
            </a:extLst>
          </p:cNvPr>
          <p:cNvSpPr txBox="1"/>
          <p:nvPr/>
        </p:nvSpPr>
        <p:spPr>
          <a:xfrm>
            <a:off x="1954115" y="1368375"/>
            <a:ext cx="5496113" cy="401135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8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Stark wachsendes Marktvolumen in Deutschland mit Fokus auf Energiewende und Umweltschutz</a:t>
            </a:r>
          </a:p>
          <a:p>
            <a:pPr marL="285750" indent="-285750">
              <a:spcAft>
                <a:spcPts val="8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de-DE" sz="1600" b="1" dirty="0"/>
              <a:t>Übernahme oder Beteiligung an geeigneten eigenständigen Ingenieurbüros </a:t>
            </a:r>
            <a:r>
              <a:rPr lang="de-DE" sz="1600" dirty="0"/>
              <a:t>in Mitteldeutschland</a:t>
            </a:r>
          </a:p>
          <a:p>
            <a:pPr marL="285750" indent="-285750">
              <a:spcAft>
                <a:spcPts val="8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Hohe Fachkompetenz und breite Erfahrung bei MIBRAG vorhanden</a:t>
            </a:r>
          </a:p>
          <a:p>
            <a:pPr marL="285750" indent="-285750">
              <a:spcAft>
                <a:spcPts val="8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Analyse, Konzepte, Planung, Steuerung, Überwachung</a:t>
            </a:r>
          </a:p>
          <a:p>
            <a:pPr marL="285750" indent="-285750">
              <a:spcAft>
                <a:spcPts val="8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Perspektive für eigenes Ingenieurpersonal nach Kohleausstieg</a:t>
            </a:r>
          </a:p>
          <a:p>
            <a:pPr marL="285750" indent="-285750">
              <a:spcAft>
                <a:spcPts val="8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Sicherung von Fachplanungskapazität für Kern-geschäft und neue Geschäftsfelder</a:t>
            </a:r>
          </a:p>
          <a:p>
            <a:pPr marL="285750" indent="-285750">
              <a:spcAft>
                <a:spcPts val="8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de-DE" sz="1600" b="1" dirty="0"/>
              <a:t>Erwarteter Arbeitsplatzeffekt: bis zu 100 MA</a:t>
            </a:r>
          </a:p>
          <a:p>
            <a:pPr marL="285750" indent="-285750">
              <a:spcAft>
                <a:spcPts val="8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de-DE" sz="1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2E99292-FA3B-BE7A-1024-1BB4FCA166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088000" y="6669000"/>
            <a:ext cx="900000" cy="180000"/>
          </a:xfrm>
        </p:spPr>
        <p:txBody>
          <a:bodyPr/>
          <a:lstStyle/>
          <a:p>
            <a:r>
              <a:rPr lang="de-DE"/>
              <a:t>21.11.2023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B5975267-A76D-32BC-73B5-B4C31485BC96}"/>
              </a:ext>
            </a:extLst>
          </p:cNvPr>
          <p:cNvGrpSpPr/>
          <p:nvPr/>
        </p:nvGrpSpPr>
        <p:grpSpPr>
          <a:xfrm>
            <a:off x="396000" y="1620320"/>
            <a:ext cx="1332000" cy="1332000"/>
            <a:chOff x="7280803" y="2063536"/>
            <a:chExt cx="1332000" cy="1332000"/>
          </a:xfrm>
        </p:grpSpPr>
        <p:sp>
          <p:nvSpPr>
            <p:cNvPr id="9" name="Graphic 15">
              <a:extLst>
                <a:ext uri="{FF2B5EF4-FFF2-40B4-BE49-F238E27FC236}">
                  <a16:creationId xmlns:a16="http://schemas.microsoft.com/office/drawing/2014/main" id="{8A486B6C-7EAD-7B7C-D9C0-BD09869069FE}"/>
                </a:ext>
              </a:extLst>
            </p:cNvPr>
            <p:cNvSpPr/>
            <p:nvPr/>
          </p:nvSpPr>
          <p:spPr>
            <a:xfrm>
              <a:off x="7280803" y="2063536"/>
              <a:ext cx="1332000" cy="1332000"/>
            </a:xfrm>
            <a:custGeom>
              <a:avLst/>
              <a:gdLst>
                <a:gd name="connsiteX0" fmla="*/ 749311 w 749310"/>
                <a:gd name="connsiteY0" fmla="*/ 214804 h 858552"/>
                <a:gd name="connsiteX1" fmla="*/ 374655 w 749310"/>
                <a:gd name="connsiteY1" fmla="*/ 0 h 858552"/>
                <a:gd name="connsiteX2" fmla="*/ 0 w 749310"/>
                <a:gd name="connsiteY2" fmla="*/ 214804 h 858552"/>
                <a:gd name="connsiteX3" fmla="*/ 0 w 749310"/>
                <a:gd name="connsiteY3" fmla="*/ 643748 h 858552"/>
                <a:gd name="connsiteX4" fmla="*/ 374655 w 749310"/>
                <a:gd name="connsiteY4" fmla="*/ 858552 h 858552"/>
                <a:gd name="connsiteX5" fmla="*/ 749311 w 749310"/>
                <a:gd name="connsiteY5" fmla="*/ 643748 h 858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9310" h="858552">
                  <a:moveTo>
                    <a:pt x="749311" y="214804"/>
                  </a:moveTo>
                  <a:lnTo>
                    <a:pt x="374655" y="0"/>
                  </a:lnTo>
                  <a:lnTo>
                    <a:pt x="0" y="214804"/>
                  </a:lnTo>
                  <a:lnTo>
                    <a:pt x="0" y="643748"/>
                  </a:lnTo>
                  <a:lnTo>
                    <a:pt x="374655" y="858552"/>
                  </a:lnTo>
                  <a:lnTo>
                    <a:pt x="749311" y="643748"/>
                  </a:lnTo>
                  <a:close/>
                </a:path>
              </a:pathLst>
            </a:custGeom>
            <a:noFill/>
            <a:ln w="6633" cap="flat">
              <a:solidFill>
                <a:srgbClr val="00A7D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BR"/>
            </a:p>
          </p:txBody>
        </p: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22D7D1F3-7DF6-CF81-10A3-3A00262672B7}"/>
                </a:ext>
              </a:extLst>
            </p:cNvPr>
            <p:cNvGrpSpPr/>
            <p:nvPr/>
          </p:nvGrpSpPr>
          <p:grpSpPr>
            <a:xfrm>
              <a:off x="7508259" y="2339629"/>
              <a:ext cx="481438" cy="758299"/>
              <a:chOff x="4987674" y="4436810"/>
              <a:chExt cx="1110149" cy="1748563"/>
            </a:xfrm>
          </p:grpSpPr>
          <p:sp>
            <p:nvSpPr>
              <p:cNvPr id="12" name="Freihandform: Form 11">
                <a:extLst>
                  <a:ext uri="{FF2B5EF4-FFF2-40B4-BE49-F238E27FC236}">
                    <a16:creationId xmlns:a16="http://schemas.microsoft.com/office/drawing/2014/main" id="{462D6ECE-097A-8C65-BCB0-8201132B48F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987674" y="5357005"/>
                <a:ext cx="1110149" cy="828368"/>
              </a:xfrm>
              <a:custGeom>
                <a:avLst/>
                <a:gdLst>
                  <a:gd name="connsiteX0" fmla="*/ 303228 w 1091862"/>
                  <a:gd name="connsiteY0" fmla="*/ 0 h 814723"/>
                  <a:gd name="connsiteX1" fmla="*/ 545931 w 1091862"/>
                  <a:gd name="connsiteY1" fmla="*/ 350583 h 814723"/>
                  <a:gd name="connsiteX2" fmla="*/ 788635 w 1091862"/>
                  <a:gd name="connsiteY2" fmla="*/ 0 h 814723"/>
                  <a:gd name="connsiteX3" fmla="*/ 798915 w 1091862"/>
                  <a:gd name="connsiteY3" fmla="*/ 540 h 814723"/>
                  <a:gd name="connsiteX4" fmla="*/ 1091862 w 1091862"/>
                  <a:gd name="connsiteY4" fmla="*/ 187833 h 814723"/>
                  <a:gd name="connsiteX5" fmla="*/ 1091862 w 1091862"/>
                  <a:gd name="connsiteY5" fmla="*/ 625842 h 814723"/>
                  <a:gd name="connsiteX6" fmla="*/ 0 w 1091862"/>
                  <a:gd name="connsiteY6" fmla="*/ 625842 h 814723"/>
                  <a:gd name="connsiteX7" fmla="*/ 0 w 1091862"/>
                  <a:gd name="connsiteY7" fmla="*/ 187833 h 814723"/>
                  <a:gd name="connsiteX8" fmla="*/ 292947 w 1091862"/>
                  <a:gd name="connsiteY8" fmla="*/ 540 h 814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1862" h="814723">
                    <a:moveTo>
                      <a:pt x="303228" y="0"/>
                    </a:moveTo>
                    <a:lnTo>
                      <a:pt x="545931" y="350583"/>
                    </a:lnTo>
                    <a:lnTo>
                      <a:pt x="788635" y="0"/>
                    </a:lnTo>
                    <a:lnTo>
                      <a:pt x="798915" y="540"/>
                    </a:lnTo>
                    <a:cubicBezTo>
                      <a:pt x="966100" y="18367"/>
                      <a:pt x="1091862" y="95447"/>
                      <a:pt x="1091862" y="187833"/>
                    </a:cubicBezTo>
                    <a:lnTo>
                      <a:pt x="1091862" y="625842"/>
                    </a:lnTo>
                    <a:cubicBezTo>
                      <a:pt x="699517" y="897245"/>
                      <a:pt x="256056" y="857334"/>
                      <a:pt x="0" y="625842"/>
                    </a:cubicBezTo>
                    <a:lnTo>
                      <a:pt x="0" y="187833"/>
                    </a:lnTo>
                    <a:cubicBezTo>
                      <a:pt x="0" y="95447"/>
                      <a:pt x="125762" y="18367"/>
                      <a:pt x="292947" y="540"/>
                    </a:cubicBez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rgbClr val="00A7D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B498DCEF-E818-B37F-079E-3FB4791F3DFA}"/>
                  </a:ext>
                </a:extLst>
              </p:cNvPr>
              <p:cNvSpPr/>
              <p:nvPr/>
            </p:nvSpPr>
            <p:spPr>
              <a:xfrm>
                <a:off x="5175082" y="4614668"/>
                <a:ext cx="742337" cy="742337"/>
              </a:xfrm>
              <a:custGeom>
                <a:avLst/>
                <a:gdLst>
                  <a:gd name="connsiteX0" fmla="*/ 371169 w 742337"/>
                  <a:gd name="connsiteY0" fmla="*/ 0 h 742337"/>
                  <a:gd name="connsiteX1" fmla="*/ 742337 w 742337"/>
                  <a:gd name="connsiteY1" fmla="*/ 371169 h 742337"/>
                  <a:gd name="connsiteX2" fmla="*/ 371169 w 742337"/>
                  <a:gd name="connsiteY2" fmla="*/ 742337 h 742337"/>
                  <a:gd name="connsiteX3" fmla="*/ 0 w 742337"/>
                  <a:gd name="connsiteY3" fmla="*/ 371169 h 742337"/>
                  <a:gd name="connsiteX4" fmla="*/ 371169 w 742337"/>
                  <a:gd name="connsiteY4" fmla="*/ 0 h 742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2337" h="742337">
                    <a:moveTo>
                      <a:pt x="371169" y="0"/>
                    </a:moveTo>
                    <a:cubicBezTo>
                      <a:pt x="576160" y="0"/>
                      <a:pt x="742337" y="166178"/>
                      <a:pt x="742337" y="371169"/>
                    </a:cubicBezTo>
                    <a:cubicBezTo>
                      <a:pt x="742337" y="576160"/>
                      <a:pt x="576160" y="742337"/>
                      <a:pt x="371169" y="742337"/>
                    </a:cubicBezTo>
                    <a:cubicBezTo>
                      <a:pt x="166178" y="742337"/>
                      <a:pt x="0" y="576160"/>
                      <a:pt x="0" y="371169"/>
                    </a:cubicBezTo>
                    <a:cubicBezTo>
                      <a:pt x="0" y="166178"/>
                      <a:pt x="166178" y="0"/>
                      <a:pt x="3711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rgbClr val="00A7D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4" name="Gruppieren 13">
                <a:extLst>
                  <a:ext uri="{FF2B5EF4-FFF2-40B4-BE49-F238E27FC236}">
                    <a16:creationId xmlns:a16="http://schemas.microsoft.com/office/drawing/2014/main" id="{B1F9267B-8C8A-D094-7132-9A03C8F9015A}"/>
                  </a:ext>
                </a:extLst>
              </p:cNvPr>
              <p:cNvGrpSpPr/>
              <p:nvPr/>
            </p:nvGrpSpPr>
            <p:grpSpPr>
              <a:xfrm>
                <a:off x="5020889" y="4436810"/>
                <a:ext cx="1043720" cy="546975"/>
                <a:chOff x="8472264" y="2426134"/>
                <a:chExt cx="1043720" cy="546975"/>
              </a:xfrm>
            </p:grpSpPr>
            <p:sp>
              <p:nvSpPr>
                <p:cNvPr id="15" name="Freihandform: Form 14">
                  <a:extLst>
                    <a:ext uri="{FF2B5EF4-FFF2-40B4-BE49-F238E27FC236}">
                      <a16:creationId xmlns:a16="http://schemas.microsoft.com/office/drawing/2014/main" id="{86813D9B-6A5F-F00F-C493-7F8AF4E49BD4}"/>
                    </a:ext>
                  </a:extLst>
                </p:cNvPr>
                <p:cNvSpPr/>
                <p:nvPr/>
              </p:nvSpPr>
              <p:spPr>
                <a:xfrm>
                  <a:off x="8599858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6" name="Freihandform: Form 15" descr="Bauarbeiter Silhouette">
                  <a:extLst>
                    <a:ext uri="{FF2B5EF4-FFF2-40B4-BE49-F238E27FC236}">
                      <a16:creationId xmlns:a16="http://schemas.microsoft.com/office/drawing/2014/main" id="{E8B8A99B-02B9-46AF-6D79-FEB9F8B7792E}"/>
                    </a:ext>
                  </a:extLst>
                </p:cNvPr>
                <p:cNvSpPr/>
                <p:nvPr/>
              </p:nvSpPr>
              <p:spPr>
                <a:xfrm>
                  <a:off x="8472264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solidFill>
                    <a:srgbClr val="00A7DC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pic>
          <p:nvPicPr>
            <p:cNvPr id="11" name="Grafik 10" descr="Klemmbrett Silhouette">
              <a:extLst>
                <a:ext uri="{FF2B5EF4-FFF2-40B4-BE49-F238E27FC236}">
                  <a16:creationId xmlns:a16="http://schemas.microsoft.com/office/drawing/2014/main" id="{418BF991-FCF1-476E-1D01-25CA20A1B3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977031" y="2465553"/>
              <a:ext cx="507400" cy="507400"/>
            </a:xfrm>
            <a:prstGeom prst="rect">
              <a:avLst/>
            </a:prstGeom>
          </p:spPr>
        </p:pic>
      </p:grp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5346022A-19C5-5F94-B4F1-06501A55BB6A}"/>
              </a:ext>
            </a:extLst>
          </p:cNvPr>
          <p:cNvCxnSpPr/>
          <p:nvPr/>
        </p:nvCxnSpPr>
        <p:spPr>
          <a:xfrm>
            <a:off x="1919536" y="1381017"/>
            <a:ext cx="0" cy="4280231"/>
          </a:xfrm>
          <a:prstGeom prst="line">
            <a:avLst/>
          </a:prstGeom>
          <a:ln>
            <a:solidFill>
              <a:srgbClr val="00A7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447994FB-8889-3513-F75E-569D2FBB65CC}"/>
              </a:ext>
            </a:extLst>
          </p:cNvPr>
          <p:cNvCxnSpPr/>
          <p:nvPr/>
        </p:nvCxnSpPr>
        <p:spPr>
          <a:xfrm>
            <a:off x="7377386" y="1381017"/>
            <a:ext cx="0" cy="4280231"/>
          </a:xfrm>
          <a:prstGeom prst="line">
            <a:avLst/>
          </a:prstGeom>
          <a:ln>
            <a:solidFill>
              <a:srgbClr val="00A7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789F06D6-458C-A9CB-7F4A-10D590425CC5}"/>
              </a:ext>
            </a:extLst>
          </p:cNvPr>
          <p:cNvGrpSpPr>
            <a:grpSpLocks noChangeAspect="1"/>
          </p:cNvGrpSpPr>
          <p:nvPr/>
        </p:nvGrpSpPr>
        <p:grpSpPr>
          <a:xfrm>
            <a:off x="286115" y="4014912"/>
            <a:ext cx="1409515" cy="936000"/>
            <a:chOff x="8816761" y="1181592"/>
            <a:chExt cx="1693677" cy="1099681"/>
          </a:xfrm>
        </p:grpSpPr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EC8F8553-B9E2-94EA-0D21-C4B217FF8F19}"/>
                </a:ext>
              </a:extLst>
            </p:cNvPr>
            <p:cNvGrpSpPr/>
            <p:nvPr/>
          </p:nvGrpSpPr>
          <p:grpSpPr>
            <a:xfrm>
              <a:off x="8816761" y="1348062"/>
              <a:ext cx="481438" cy="758299"/>
              <a:chOff x="4987674" y="4436810"/>
              <a:chExt cx="1110149" cy="1748563"/>
            </a:xfrm>
          </p:grpSpPr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914BC344-7DD7-2E71-5363-46A8FEB431C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987674" y="5357005"/>
                <a:ext cx="1110149" cy="828368"/>
              </a:xfrm>
              <a:custGeom>
                <a:avLst/>
                <a:gdLst>
                  <a:gd name="connsiteX0" fmla="*/ 303228 w 1091862"/>
                  <a:gd name="connsiteY0" fmla="*/ 0 h 814723"/>
                  <a:gd name="connsiteX1" fmla="*/ 545931 w 1091862"/>
                  <a:gd name="connsiteY1" fmla="*/ 350583 h 814723"/>
                  <a:gd name="connsiteX2" fmla="*/ 788635 w 1091862"/>
                  <a:gd name="connsiteY2" fmla="*/ 0 h 814723"/>
                  <a:gd name="connsiteX3" fmla="*/ 798915 w 1091862"/>
                  <a:gd name="connsiteY3" fmla="*/ 540 h 814723"/>
                  <a:gd name="connsiteX4" fmla="*/ 1091862 w 1091862"/>
                  <a:gd name="connsiteY4" fmla="*/ 187833 h 814723"/>
                  <a:gd name="connsiteX5" fmla="*/ 1091862 w 1091862"/>
                  <a:gd name="connsiteY5" fmla="*/ 625842 h 814723"/>
                  <a:gd name="connsiteX6" fmla="*/ 0 w 1091862"/>
                  <a:gd name="connsiteY6" fmla="*/ 625842 h 814723"/>
                  <a:gd name="connsiteX7" fmla="*/ 0 w 1091862"/>
                  <a:gd name="connsiteY7" fmla="*/ 187833 h 814723"/>
                  <a:gd name="connsiteX8" fmla="*/ 292947 w 1091862"/>
                  <a:gd name="connsiteY8" fmla="*/ 540 h 814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1862" h="814723">
                    <a:moveTo>
                      <a:pt x="303228" y="0"/>
                    </a:moveTo>
                    <a:lnTo>
                      <a:pt x="545931" y="350583"/>
                    </a:lnTo>
                    <a:lnTo>
                      <a:pt x="788635" y="0"/>
                    </a:lnTo>
                    <a:lnTo>
                      <a:pt x="798915" y="540"/>
                    </a:lnTo>
                    <a:cubicBezTo>
                      <a:pt x="966100" y="18367"/>
                      <a:pt x="1091862" y="95447"/>
                      <a:pt x="1091862" y="187833"/>
                    </a:cubicBezTo>
                    <a:lnTo>
                      <a:pt x="1091862" y="625842"/>
                    </a:lnTo>
                    <a:cubicBezTo>
                      <a:pt x="699517" y="897245"/>
                      <a:pt x="256056" y="857334"/>
                      <a:pt x="0" y="625842"/>
                    </a:cubicBezTo>
                    <a:lnTo>
                      <a:pt x="0" y="187833"/>
                    </a:lnTo>
                    <a:cubicBezTo>
                      <a:pt x="0" y="95447"/>
                      <a:pt x="125762" y="18367"/>
                      <a:pt x="292947" y="54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2FD0FC01-1C1B-07E8-69D7-286DF2527719}"/>
                  </a:ext>
                </a:extLst>
              </p:cNvPr>
              <p:cNvSpPr/>
              <p:nvPr/>
            </p:nvSpPr>
            <p:spPr>
              <a:xfrm>
                <a:off x="5175082" y="4614668"/>
                <a:ext cx="742337" cy="742337"/>
              </a:xfrm>
              <a:custGeom>
                <a:avLst/>
                <a:gdLst>
                  <a:gd name="connsiteX0" fmla="*/ 371169 w 742337"/>
                  <a:gd name="connsiteY0" fmla="*/ 0 h 742337"/>
                  <a:gd name="connsiteX1" fmla="*/ 742337 w 742337"/>
                  <a:gd name="connsiteY1" fmla="*/ 371169 h 742337"/>
                  <a:gd name="connsiteX2" fmla="*/ 371169 w 742337"/>
                  <a:gd name="connsiteY2" fmla="*/ 742337 h 742337"/>
                  <a:gd name="connsiteX3" fmla="*/ 0 w 742337"/>
                  <a:gd name="connsiteY3" fmla="*/ 371169 h 742337"/>
                  <a:gd name="connsiteX4" fmla="*/ 371169 w 742337"/>
                  <a:gd name="connsiteY4" fmla="*/ 0 h 742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2337" h="742337">
                    <a:moveTo>
                      <a:pt x="371169" y="0"/>
                    </a:moveTo>
                    <a:cubicBezTo>
                      <a:pt x="576160" y="0"/>
                      <a:pt x="742337" y="166178"/>
                      <a:pt x="742337" y="371169"/>
                    </a:cubicBezTo>
                    <a:cubicBezTo>
                      <a:pt x="742337" y="576160"/>
                      <a:pt x="576160" y="742337"/>
                      <a:pt x="371169" y="742337"/>
                    </a:cubicBezTo>
                    <a:cubicBezTo>
                      <a:pt x="166178" y="742337"/>
                      <a:pt x="0" y="576160"/>
                      <a:pt x="0" y="371169"/>
                    </a:cubicBezTo>
                    <a:cubicBezTo>
                      <a:pt x="0" y="166178"/>
                      <a:pt x="166178" y="0"/>
                      <a:pt x="37116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60" name="Gruppieren 59">
                <a:extLst>
                  <a:ext uri="{FF2B5EF4-FFF2-40B4-BE49-F238E27FC236}">
                    <a16:creationId xmlns:a16="http://schemas.microsoft.com/office/drawing/2014/main" id="{2A62B0F7-CF87-4388-86EB-85BC47AF4E7E}"/>
                  </a:ext>
                </a:extLst>
              </p:cNvPr>
              <p:cNvGrpSpPr/>
              <p:nvPr/>
            </p:nvGrpSpPr>
            <p:grpSpPr>
              <a:xfrm>
                <a:off x="5020889" y="4436810"/>
                <a:ext cx="1043720" cy="546975"/>
                <a:chOff x="8472264" y="2426134"/>
                <a:chExt cx="1043720" cy="546975"/>
              </a:xfrm>
            </p:grpSpPr>
            <p:sp>
              <p:nvSpPr>
                <p:cNvPr id="61" name="Freihandform: Form 60">
                  <a:extLst>
                    <a:ext uri="{FF2B5EF4-FFF2-40B4-BE49-F238E27FC236}">
                      <a16:creationId xmlns:a16="http://schemas.microsoft.com/office/drawing/2014/main" id="{9C3F28D2-89BF-4EC4-3727-26BCD5B672A8}"/>
                    </a:ext>
                  </a:extLst>
                </p:cNvPr>
                <p:cNvSpPr/>
                <p:nvPr/>
              </p:nvSpPr>
              <p:spPr>
                <a:xfrm>
                  <a:off x="8599858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2" name="Freihandform: Form 61" descr="Bauarbeiter Silhouette">
                  <a:extLst>
                    <a:ext uri="{FF2B5EF4-FFF2-40B4-BE49-F238E27FC236}">
                      <a16:creationId xmlns:a16="http://schemas.microsoft.com/office/drawing/2014/main" id="{29AD0E3F-7A8F-03F2-F79B-B8AB0DC414F2}"/>
                    </a:ext>
                  </a:extLst>
                </p:cNvPr>
                <p:cNvSpPr/>
                <p:nvPr/>
              </p:nvSpPr>
              <p:spPr>
                <a:xfrm>
                  <a:off x="8472264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4EDA3ED2-4F6E-7C6D-26D4-A703F30A70F4}"/>
                </a:ext>
              </a:extLst>
            </p:cNvPr>
            <p:cNvGrpSpPr/>
            <p:nvPr/>
          </p:nvGrpSpPr>
          <p:grpSpPr>
            <a:xfrm>
              <a:off x="9369819" y="1666676"/>
              <a:ext cx="375547" cy="614597"/>
              <a:chOff x="9870656" y="4436810"/>
              <a:chExt cx="1113505" cy="1822293"/>
            </a:xfrm>
          </p:grpSpPr>
          <p:sp>
            <p:nvSpPr>
              <p:cNvPr id="54" name="Freihandform 78">
                <a:extLst>
                  <a:ext uri="{FF2B5EF4-FFF2-40B4-BE49-F238E27FC236}">
                    <a16:creationId xmlns:a16="http://schemas.microsoft.com/office/drawing/2014/main" id="{902AED90-822A-E88E-1379-462E3D4867B8}"/>
                  </a:ext>
                </a:extLst>
              </p:cNvPr>
              <p:cNvSpPr/>
              <p:nvPr/>
            </p:nvSpPr>
            <p:spPr>
              <a:xfrm>
                <a:off x="9870656" y="4614668"/>
                <a:ext cx="1113505" cy="1644435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55" name="Gruppieren 54">
                <a:extLst>
                  <a:ext uri="{FF2B5EF4-FFF2-40B4-BE49-F238E27FC236}">
                    <a16:creationId xmlns:a16="http://schemas.microsoft.com/office/drawing/2014/main" id="{3AB0BFAF-061F-F826-614F-A0203B5B1383}"/>
                  </a:ext>
                </a:extLst>
              </p:cNvPr>
              <p:cNvGrpSpPr/>
              <p:nvPr/>
            </p:nvGrpSpPr>
            <p:grpSpPr>
              <a:xfrm>
                <a:off x="9902047" y="4436810"/>
                <a:ext cx="1043720" cy="546975"/>
                <a:chOff x="8472264" y="2426134"/>
                <a:chExt cx="1043720" cy="546975"/>
              </a:xfrm>
            </p:grpSpPr>
            <p:sp>
              <p:nvSpPr>
                <p:cNvPr id="56" name="Freihandform: Form 55">
                  <a:extLst>
                    <a:ext uri="{FF2B5EF4-FFF2-40B4-BE49-F238E27FC236}">
                      <a16:creationId xmlns:a16="http://schemas.microsoft.com/office/drawing/2014/main" id="{5332D550-A88E-0FB8-3DAF-140F376F5666}"/>
                    </a:ext>
                  </a:extLst>
                </p:cNvPr>
                <p:cNvSpPr/>
                <p:nvPr/>
              </p:nvSpPr>
              <p:spPr>
                <a:xfrm>
                  <a:off x="8599858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57" name="Freihandform: Form 56" descr="Bauarbeiter Silhouette">
                  <a:extLst>
                    <a:ext uri="{FF2B5EF4-FFF2-40B4-BE49-F238E27FC236}">
                      <a16:creationId xmlns:a16="http://schemas.microsoft.com/office/drawing/2014/main" id="{5C2D265B-5FE5-6C3C-EC7C-5C0ABF1EBDF3}"/>
                    </a:ext>
                  </a:extLst>
                </p:cNvPr>
                <p:cNvSpPr/>
                <p:nvPr/>
              </p:nvSpPr>
              <p:spPr>
                <a:xfrm>
                  <a:off x="8472264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493C916A-10C2-6D5A-2AE6-4C4ABEFA9FA4}"/>
                </a:ext>
              </a:extLst>
            </p:cNvPr>
            <p:cNvGrpSpPr/>
            <p:nvPr/>
          </p:nvGrpSpPr>
          <p:grpSpPr>
            <a:xfrm>
              <a:off x="9830328" y="1755051"/>
              <a:ext cx="310082" cy="525562"/>
              <a:chOff x="11067982" y="4739041"/>
              <a:chExt cx="783930" cy="1328694"/>
            </a:xfrm>
          </p:grpSpPr>
          <p:sp>
            <p:nvSpPr>
              <p:cNvPr id="50" name="Freihandform 76">
                <a:extLst>
                  <a:ext uri="{FF2B5EF4-FFF2-40B4-BE49-F238E27FC236}">
                    <a16:creationId xmlns:a16="http://schemas.microsoft.com/office/drawing/2014/main" id="{FB77DB12-E086-3965-8B15-D3C3C9C37DC7}"/>
                  </a:ext>
                </a:extLst>
              </p:cNvPr>
              <p:cNvSpPr/>
              <p:nvPr/>
            </p:nvSpPr>
            <p:spPr>
              <a:xfrm>
                <a:off x="11067982" y="4910022"/>
                <a:ext cx="783930" cy="1157713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51" name="Gruppieren 50">
                <a:extLst>
                  <a:ext uri="{FF2B5EF4-FFF2-40B4-BE49-F238E27FC236}">
                    <a16:creationId xmlns:a16="http://schemas.microsoft.com/office/drawing/2014/main" id="{F2E73CCF-45B9-D754-A173-2E7BD1903C49}"/>
                  </a:ext>
                </a:extLst>
              </p:cNvPr>
              <p:cNvGrpSpPr/>
              <p:nvPr/>
            </p:nvGrpSpPr>
            <p:grpSpPr>
              <a:xfrm>
                <a:off x="11078280" y="4739041"/>
                <a:ext cx="768383" cy="402681"/>
                <a:chOff x="9650969" y="2426134"/>
                <a:chExt cx="1043720" cy="546975"/>
              </a:xfrm>
            </p:grpSpPr>
            <p:sp>
              <p:nvSpPr>
                <p:cNvPr id="52" name="Freihandform: Form 51">
                  <a:extLst>
                    <a:ext uri="{FF2B5EF4-FFF2-40B4-BE49-F238E27FC236}">
                      <a16:creationId xmlns:a16="http://schemas.microsoft.com/office/drawing/2014/main" id="{9E440962-A3BB-32BF-1C3A-08A08789C6CB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53" name="Freihandform: Form 52" descr="Bauarbeiter Silhouette">
                  <a:extLst>
                    <a:ext uri="{FF2B5EF4-FFF2-40B4-BE49-F238E27FC236}">
                      <a16:creationId xmlns:a16="http://schemas.microsoft.com/office/drawing/2014/main" id="{4CCCEC30-1FDF-E8EA-1D79-6A7DF7D58625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E52062F8-A84C-81DF-6BF5-B9AE9E19411D}"/>
                </a:ext>
              </a:extLst>
            </p:cNvPr>
            <p:cNvGrpSpPr/>
            <p:nvPr/>
          </p:nvGrpSpPr>
          <p:grpSpPr>
            <a:xfrm>
              <a:off x="10200356" y="1755051"/>
              <a:ext cx="310082" cy="525562"/>
              <a:chOff x="11067982" y="4739041"/>
              <a:chExt cx="783930" cy="1328694"/>
            </a:xfrm>
          </p:grpSpPr>
          <p:sp>
            <p:nvSpPr>
              <p:cNvPr id="46" name="Freihandform 76">
                <a:extLst>
                  <a:ext uri="{FF2B5EF4-FFF2-40B4-BE49-F238E27FC236}">
                    <a16:creationId xmlns:a16="http://schemas.microsoft.com/office/drawing/2014/main" id="{B0757126-F1D7-40D1-4BCF-EFD58AB1C0CB}"/>
                  </a:ext>
                </a:extLst>
              </p:cNvPr>
              <p:cNvSpPr/>
              <p:nvPr/>
            </p:nvSpPr>
            <p:spPr>
              <a:xfrm>
                <a:off x="11067982" y="4910022"/>
                <a:ext cx="783930" cy="1157713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47" name="Gruppieren 46">
                <a:extLst>
                  <a:ext uri="{FF2B5EF4-FFF2-40B4-BE49-F238E27FC236}">
                    <a16:creationId xmlns:a16="http://schemas.microsoft.com/office/drawing/2014/main" id="{E4F8C50D-EDA0-E310-EC2F-D535393233DA}"/>
                  </a:ext>
                </a:extLst>
              </p:cNvPr>
              <p:cNvGrpSpPr/>
              <p:nvPr/>
            </p:nvGrpSpPr>
            <p:grpSpPr>
              <a:xfrm>
                <a:off x="11078280" y="4739041"/>
                <a:ext cx="768383" cy="402681"/>
                <a:chOff x="9650969" y="2426134"/>
                <a:chExt cx="1043720" cy="546975"/>
              </a:xfrm>
            </p:grpSpPr>
            <p:sp>
              <p:nvSpPr>
                <p:cNvPr id="48" name="Freihandform: Form 47">
                  <a:extLst>
                    <a:ext uri="{FF2B5EF4-FFF2-40B4-BE49-F238E27FC236}">
                      <a16:creationId xmlns:a16="http://schemas.microsoft.com/office/drawing/2014/main" id="{20ACE437-CE3F-C393-BDD3-205E9E3D03CF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9" name="Freihandform: Form 48" descr="Bauarbeiter Silhouette">
                  <a:extLst>
                    <a:ext uri="{FF2B5EF4-FFF2-40B4-BE49-F238E27FC236}">
                      <a16:creationId xmlns:a16="http://schemas.microsoft.com/office/drawing/2014/main" id="{7311FB98-0E6D-2B0D-1077-D4F7539F6C4C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D3E5E703-DED6-BD20-DB01-E20AB3B35718}"/>
                </a:ext>
              </a:extLst>
            </p:cNvPr>
            <p:cNvGrpSpPr/>
            <p:nvPr/>
          </p:nvGrpSpPr>
          <p:grpSpPr>
            <a:xfrm>
              <a:off x="9698885" y="1181592"/>
              <a:ext cx="310082" cy="525562"/>
              <a:chOff x="11067982" y="4739041"/>
              <a:chExt cx="783930" cy="1328694"/>
            </a:xfrm>
          </p:grpSpPr>
          <p:sp>
            <p:nvSpPr>
              <p:cNvPr id="42" name="Freihandform 76">
                <a:extLst>
                  <a:ext uri="{FF2B5EF4-FFF2-40B4-BE49-F238E27FC236}">
                    <a16:creationId xmlns:a16="http://schemas.microsoft.com/office/drawing/2014/main" id="{A43AE4AD-2AD4-B7C8-796C-8EF6AB77DC4C}"/>
                  </a:ext>
                </a:extLst>
              </p:cNvPr>
              <p:cNvSpPr/>
              <p:nvPr/>
            </p:nvSpPr>
            <p:spPr>
              <a:xfrm>
                <a:off x="11067982" y="4910022"/>
                <a:ext cx="783930" cy="1157713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43" name="Gruppieren 42">
                <a:extLst>
                  <a:ext uri="{FF2B5EF4-FFF2-40B4-BE49-F238E27FC236}">
                    <a16:creationId xmlns:a16="http://schemas.microsoft.com/office/drawing/2014/main" id="{68A58E79-C3DF-7700-1952-3E044A3E7BDC}"/>
                  </a:ext>
                </a:extLst>
              </p:cNvPr>
              <p:cNvGrpSpPr/>
              <p:nvPr/>
            </p:nvGrpSpPr>
            <p:grpSpPr>
              <a:xfrm>
                <a:off x="11078280" y="4739041"/>
                <a:ext cx="768383" cy="402681"/>
                <a:chOff x="9650969" y="2426134"/>
                <a:chExt cx="1043720" cy="546975"/>
              </a:xfrm>
            </p:grpSpPr>
            <p:sp>
              <p:nvSpPr>
                <p:cNvPr id="44" name="Freihandform: Form 43">
                  <a:extLst>
                    <a:ext uri="{FF2B5EF4-FFF2-40B4-BE49-F238E27FC236}">
                      <a16:creationId xmlns:a16="http://schemas.microsoft.com/office/drawing/2014/main" id="{7EC62AF2-568B-BB2B-180F-DCE668477120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5" name="Freihandform: Form 44" descr="Bauarbeiter Silhouette">
                  <a:extLst>
                    <a:ext uri="{FF2B5EF4-FFF2-40B4-BE49-F238E27FC236}">
                      <a16:creationId xmlns:a16="http://schemas.microsoft.com/office/drawing/2014/main" id="{C4641626-E49D-D938-5881-9C98C3D4B5CC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38282460-E231-87AA-060C-15183BA1A838}"/>
                </a:ext>
              </a:extLst>
            </p:cNvPr>
            <p:cNvGrpSpPr/>
            <p:nvPr/>
          </p:nvGrpSpPr>
          <p:grpSpPr>
            <a:xfrm>
              <a:off x="10068913" y="1181592"/>
              <a:ext cx="310082" cy="525562"/>
              <a:chOff x="11067982" y="4739041"/>
              <a:chExt cx="783930" cy="1328694"/>
            </a:xfrm>
          </p:grpSpPr>
          <p:sp>
            <p:nvSpPr>
              <p:cNvPr id="35" name="Freihandform 76">
                <a:extLst>
                  <a:ext uri="{FF2B5EF4-FFF2-40B4-BE49-F238E27FC236}">
                    <a16:creationId xmlns:a16="http://schemas.microsoft.com/office/drawing/2014/main" id="{5ACAB4CF-D72C-3C23-5D60-4262973848B8}"/>
                  </a:ext>
                </a:extLst>
              </p:cNvPr>
              <p:cNvSpPr/>
              <p:nvPr/>
            </p:nvSpPr>
            <p:spPr>
              <a:xfrm>
                <a:off x="11067982" y="4910022"/>
                <a:ext cx="783930" cy="1157713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36" name="Gruppieren 35">
                <a:extLst>
                  <a:ext uri="{FF2B5EF4-FFF2-40B4-BE49-F238E27FC236}">
                    <a16:creationId xmlns:a16="http://schemas.microsoft.com/office/drawing/2014/main" id="{63103F4A-3E63-26DD-10B0-7BFBF22DF6E5}"/>
                  </a:ext>
                </a:extLst>
              </p:cNvPr>
              <p:cNvGrpSpPr/>
              <p:nvPr/>
            </p:nvGrpSpPr>
            <p:grpSpPr>
              <a:xfrm>
                <a:off x="11078280" y="4739041"/>
                <a:ext cx="768383" cy="402681"/>
                <a:chOff x="9650969" y="2426134"/>
                <a:chExt cx="1043720" cy="546975"/>
              </a:xfrm>
            </p:grpSpPr>
            <p:sp>
              <p:nvSpPr>
                <p:cNvPr id="40" name="Freihandform: Form 39">
                  <a:extLst>
                    <a:ext uri="{FF2B5EF4-FFF2-40B4-BE49-F238E27FC236}">
                      <a16:creationId xmlns:a16="http://schemas.microsoft.com/office/drawing/2014/main" id="{CE86E256-E625-E296-40EA-324165A82D26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1" name="Freihandform: Form 40" descr="Bauarbeiter Silhouette">
                  <a:extLst>
                    <a:ext uri="{FF2B5EF4-FFF2-40B4-BE49-F238E27FC236}">
                      <a16:creationId xmlns:a16="http://schemas.microsoft.com/office/drawing/2014/main" id="{69903F48-FB9C-563C-9C6B-B8FC9BDDE169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53531D63-2A3E-C0BE-A4D3-0BD997BDB8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05" t="-74652" r="19262" b="115035"/>
          <a:stretch/>
        </p:blipFill>
        <p:spPr bwMode="auto">
          <a:xfrm>
            <a:off x="7620461" y="2888776"/>
            <a:ext cx="2074880" cy="1005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44DEC1EE-871A-BE9D-AF65-2B3D3E7DEE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31" t="14804" r="21986" b="40279"/>
          <a:stretch/>
        </p:blipFill>
        <p:spPr bwMode="auto">
          <a:xfrm>
            <a:off x="7620461" y="3965945"/>
            <a:ext cx="2055883" cy="107414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1024" name="Textfeld 1023">
            <a:extLst>
              <a:ext uri="{FF2B5EF4-FFF2-40B4-BE49-F238E27FC236}">
                <a16:creationId xmlns:a16="http://schemas.microsoft.com/office/drawing/2014/main" id="{3BDD4605-0C4F-D15E-0099-C0048D89B111}"/>
              </a:ext>
            </a:extLst>
          </p:cNvPr>
          <p:cNvSpPr txBox="1"/>
          <p:nvPr/>
        </p:nvSpPr>
        <p:spPr>
          <a:xfrm>
            <a:off x="7842708" y="4318349"/>
            <a:ext cx="1356856" cy="369332"/>
          </a:xfrm>
          <a:prstGeom prst="rect">
            <a:avLst/>
          </a:prstGeom>
          <a:noFill/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Rekultivierung</a:t>
            </a:r>
          </a:p>
        </p:txBody>
      </p:sp>
      <p:pic>
        <p:nvPicPr>
          <p:cNvPr id="1030" name="Picture 6" descr="Aufgrund seiner geologi­schen Lage ist Island reich an Erdwärme: Das Kraftwerk Svartsengi südwestlich von Reykjavík versorgt 21 000 Haushalte mit Wärme und erzeugt gleichzeitig Strom">
            <a:extLst>
              <a:ext uri="{FF2B5EF4-FFF2-40B4-BE49-F238E27FC236}">
                <a16:creationId xmlns:a16="http://schemas.microsoft.com/office/drawing/2014/main" id="{5DE31CB3-A5FA-B4BE-8B50-3C98B983A5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385" b="2479"/>
          <a:stretch/>
        </p:blipFill>
        <p:spPr bwMode="auto">
          <a:xfrm>
            <a:off x="9837801" y="3985069"/>
            <a:ext cx="2061287" cy="103341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1025" name="Textfeld 1024">
            <a:extLst>
              <a:ext uri="{FF2B5EF4-FFF2-40B4-BE49-F238E27FC236}">
                <a16:creationId xmlns:a16="http://schemas.microsoft.com/office/drawing/2014/main" id="{95702B90-B595-EAAF-6F49-9CC599EFD4E8}"/>
              </a:ext>
            </a:extLst>
          </p:cNvPr>
          <p:cNvSpPr txBox="1"/>
          <p:nvPr/>
        </p:nvSpPr>
        <p:spPr>
          <a:xfrm>
            <a:off x="10177389" y="4318349"/>
            <a:ext cx="1382110" cy="369332"/>
          </a:xfrm>
          <a:prstGeom prst="rect">
            <a:avLst/>
          </a:prstGeom>
          <a:noFill/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Geothermie</a:t>
            </a:r>
          </a:p>
        </p:txBody>
      </p:sp>
      <p:sp>
        <p:nvSpPr>
          <p:cNvPr id="27" name="Fußzeilenplatzhalter 26">
            <a:extLst>
              <a:ext uri="{FF2B5EF4-FFF2-40B4-BE49-F238E27FC236}">
                <a16:creationId xmlns:a16="http://schemas.microsoft.com/office/drawing/2014/main" id="{C5F232D9-06F6-AA89-3290-00C0F55AC4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</a:p>
        </p:txBody>
      </p:sp>
    </p:spTree>
    <p:extLst>
      <p:ext uri="{BB962C8B-B14F-4D97-AF65-F5344CB8AC3E}">
        <p14:creationId xmlns:p14="http://schemas.microsoft.com/office/powerpoint/2010/main" val="5652610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4">
            <a:extLst>
              <a:ext uri="{FF2B5EF4-FFF2-40B4-BE49-F238E27FC236}">
                <a16:creationId xmlns:a16="http://schemas.microsoft.com/office/drawing/2014/main" id="{CAF6899A-4FED-43A5-1516-7960B25DDC3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00" t="23519" r="8853" b="16389"/>
          <a:stretch/>
        </p:blipFill>
        <p:spPr>
          <a:xfrm>
            <a:off x="7623488" y="1520950"/>
            <a:ext cx="3784946" cy="3211135"/>
          </a:xfrm>
          <a:prstGeom prst="rect">
            <a:avLst/>
          </a:prstGeom>
          <a:ln w="19050">
            <a:noFill/>
          </a:ln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842F98D-3CF9-40F0-B668-01D1FB215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IBRAG Energy Group</a:t>
            </a:r>
            <a:br>
              <a:rPr lang="de-DE"/>
            </a:br>
            <a:r>
              <a:rPr lang="de-DE" sz="2000"/>
              <a:t>Geschäftsfeld Industrielösungen: Train Servic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578E89-9C06-4658-A711-ED91CB20C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5269028-F3E0-CACD-1970-05D73DBF58E7}"/>
              </a:ext>
            </a:extLst>
          </p:cNvPr>
          <p:cNvSpPr txBox="1"/>
          <p:nvPr/>
        </p:nvSpPr>
        <p:spPr>
          <a:xfrm>
            <a:off x="2023255" y="1410682"/>
            <a:ext cx="5351033" cy="2964914"/>
          </a:xfrm>
          <a:prstGeom prst="rect">
            <a:avLst/>
          </a:prstGeom>
          <a:noFill/>
          <a:ln w="6350"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8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de-DE" sz="1600" b="1" dirty="0"/>
              <a:t>Kompetenzzentrum für Schienenfahrzeugtechnik und Logistik in Mitteldeutschland</a:t>
            </a:r>
          </a:p>
          <a:p>
            <a:pPr marL="285750" indent="-285750">
              <a:spcAft>
                <a:spcPts val="8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Instandhaltung: Wartung, Hauptuntersuchung, Reparatur, Baugruppenaufarbeitung</a:t>
            </a:r>
          </a:p>
          <a:p>
            <a:pPr marL="285750" indent="-285750">
              <a:spcAft>
                <a:spcPts val="8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Logistik: Holz, Ersatzbrennstoffe, Vermietung von Stellflächen</a:t>
            </a:r>
          </a:p>
          <a:p>
            <a:pPr marL="285750" indent="-285750">
              <a:spcAft>
                <a:spcPts val="8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Umbau/Service: H</a:t>
            </a:r>
            <a:r>
              <a:rPr lang="de-DE" sz="1600" baseline="-25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-Triebfahrzeuge, automatische Kupplungen, ETCS-Umrüstung, Kesselwagen-reinigung</a:t>
            </a:r>
          </a:p>
          <a:p>
            <a:pPr marL="285750" indent="-285750">
              <a:spcAft>
                <a:spcPts val="800"/>
              </a:spcAft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Erwarteter Arbeitsplatzeffekt: bis zu 150 MA</a:t>
            </a:r>
            <a:endParaRPr lang="de-DE" sz="1600" b="1" dirty="0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17E72BD0-F768-4D61-6CF0-2092D3D23E8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088000" y="6669000"/>
            <a:ext cx="900000" cy="180000"/>
          </a:xfrm>
        </p:spPr>
        <p:txBody>
          <a:bodyPr/>
          <a:lstStyle/>
          <a:p>
            <a:r>
              <a:rPr lang="de-DE"/>
              <a:t>21.11.2023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03ACD3A9-C13A-EB73-A883-930860048DCF}"/>
              </a:ext>
            </a:extLst>
          </p:cNvPr>
          <p:cNvGrpSpPr/>
          <p:nvPr/>
        </p:nvGrpSpPr>
        <p:grpSpPr>
          <a:xfrm>
            <a:off x="389037" y="1612404"/>
            <a:ext cx="1332000" cy="1332000"/>
            <a:chOff x="7937615" y="4756368"/>
            <a:chExt cx="1332000" cy="1332000"/>
          </a:xfrm>
        </p:grpSpPr>
        <p:sp>
          <p:nvSpPr>
            <p:cNvPr id="5" name="Graphic 18">
              <a:extLst>
                <a:ext uri="{FF2B5EF4-FFF2-40B4-BE49-F238E27FC236}">
                  <a16:creationId xmlns:a16="http://schemas.microsoft.com/office/drawing/2014/main" id="{6AE32B9C-260D-8ECC-6636-2238A3375FDC}"/>
                </a:ext>
              </a:extLst>
            </p:cNvPr>
            <p:cNvSpPr/>
            <p:nvPr/>
          </p:nvSpPr>
          <p:spPr>
            <a:xfrm>
              <a:off x="7937615" y="4756368"/>
              <a:ext cx="1332000" cy="1332000"/>
            </a:xfrm>
            <a:custGeom>
              <a:avLst/>
              <a:gdLst>
                <a:gd name="connsiteX0" fmla="*/ 749311 w 749310"/>
                <a:gd name="connsiteY0" fmla="*/ 214804 h 858552"/>
                <a:gd name="connsiteX1" fmla="*/ 374655 w 749310"/>
                <a:gd name="connsiteY1" fmla="*/ 0 h 858552"/>
                <a:gd name="connsiteX2" fmla="*/ 0 w 749310"/>
                <a:gd name="connsiteY2" fmla="*/ 214804 h 858552"/>
                <a:gd name="connsiteX3" fmla="*/ 0 w 749310"/>
                <a:gd name="connsiteY3" fmla="*/ 643748 h 858552"/>
                <a:gd name="connsiteX4" fmla="*/ 374655 w 749310"/>
                <a:gd name="connsiteY4" fmla="*/ 858552 h 858552"/>
                <a:gd name="connsiteX5" fmla="*/ 749311 w 749310"/>
                <a:gd name="connsiteY5" fmla="*/ 643748 h 858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9310" h="858552">
                  <a:moveTo>
                    <a:pt x="749311" y="214804"/>
                  </a:moveTo>
                  <a:lnTo>
                    <a:pt x="374655" y="0"/>
                  </a:lnTo>
                  <a:lnTo>
                    <a:pt x="0" y="214804"/>
                  </a:lnTo>
                  <a:lnTo>
                    <a:pt x="0" y="643748"/>
                  </a:lnTo>
                  <a:lnTo>
                    <a:pt x="374655" y="858552"/>
                  </a:lnTo>
                  <a:lnTo>
                    <a:pt x="749311" y="643748"/>
                  </a:lnTo>
                  <a:close/>
                </a:path>
              </a:pathLst>
            </a:custGeom>
            <a:noFill/>
            <a:ln w="6633" cap="flat">
              <a:solidFill>
                <a:srgbClr val="FAAF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BR"/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4558B678-CC0E-7C84-A42E-1AAE98A4B43B}"/>
                </a:ext>
              </a:extLst>
            </p:cNvPr>
            <p:cNvGrpSpPr/>
            <p:nvPr/>
          </p:nvGrpSpPr>
          <p:grpSpPr>
            <a:xfrm>
              <a:off x="8147859" y="4982423"/>
              <a:ext cx="879286" cy="800352"/>
              <a:chOff x="3996624" y="2073160"/>
              <a:chExt cx="1775631" cy="1616231"/>
            </a:xfrm>
            <a:solidFill>
              <a:srgbClr val="FAAF00"/>
            </a:solidFill>
          </p:grpSpPr>
          <p:grpSp>
            <p:nvGrpSpPr>
              <p:cNvPr id="13" name="Grafik 13" descr="Blaupause Silhouette">
                <a:extLst>
                  <a:ext uri="{FF2B5EF4-FFF2-40B4-BE49-F238E27FC236}">
                    <a16:creationId xmlns:a16="http://schemas.microsoft.com/office/drawing/2014/main" id="{5DA87929-18C8-62EE-DCD9-F87FB04F3A8E}"/>
                  </a:ext>
                </a:extLst>
              </p:cNvPr>
              <p:cNvGrpSpPr/>
              <p:nvPr/>
            </p:nvGrpSpPr>
            <p:grpSpPr>
              <a:xfrm>
                <a:off x="3996624" y="2073160"/>
                <a:ext cx="1775631" cy="1616231"/>
                <a:chOff x="3996624" y="2073160"/>
                <a:chExt cx="1775631" cy="1616231"/>
              </a:xfrm>
              <a:grpFill/>
            </p:grpSpPr>
            <p:sp>
              <p:nvSpPr>
                <p:cNvPr id="15" name="Freihandform: Form 14">
                  <a:extLst>
                    <a:ext uri="{FF2B5EF4-FFF2-40B4-BE49-F238E27FC236}">
                      <a16:creationId xmlns:a16="http://schemas.microsoft.com/office/drawing/2014/main" id="{1706F5A9-BBDE-E7D0-7A10-A8A3B36B3CF4}"/>
                    </a:ext>
                  </a:extLst>
                </p:cNvPr>
                <p:cNvSpPr/>
                <p:nvPr/>
              </p:nvSpPr>
              <p:spPr>
                <a:xfrm>
                  <a:off x="3996624" y="2164170"/>
                  <a:ext cx="1775631" cy="1525221"/>
                </a:xfrm>
                <a:custGeom>
                  <a:avLst/>
                  <a:gdLst>
                    <a:gd name="connsiteX0" fmla="*/ 1606286 w 1775631"/>
                    <a:gd name="connsiteY0" fmla="*/ 227645 h 1525221"/>
                    <a:gd name="connsiteX1" fmla="*/ 1560757 w 1775631"/>
                    <a:gd name="connsiteY1" fmla="*/ 273174 h 1525221"/>
                    <a:gd name="connsiteX2" fmla="*/ 1730102 w 1775631"/>
                    <a:gd name="connsiteY2" fmla="*/ 273174 h 1525221"/>
                    <a:gd name="connsiteX3" fmla="*/ 1730102 w 1775631"/>
                    <a:gd name="connsiteY3" fmla="*/ 1479693 h 1525221"/>
                    <a:gd name="connsiteX4" fmla="*/ 270670 w 1775631"/>
                    <a:gd name="connsiteY4" fmla="*/ 1479693 h 1525221"/>
                    <a:gd name="connsiteX5" fmla="*/ 316882 w 1775631"/>
                    <a:gd name="connsiteY5" fmla="*/ 1388635 h 1525221"/>
                    <a:gd name="connsiteX6" fmla="*/ 318703 w 1775631"/>
                    <a:gd name="connsiteY6" fmla="*/ 1365870 h 1525221"/>
                    <a:gd name="connsiteX7" fmla="*/ 318703 w 1775631"/>
                    <a:gd name="connsiteY7" fmla="*/ 273174 h 1525221"/>
                    <a:gd name="connsiteX8" fmla="*/ 1080813 w 1775631"/>
                    <a:gd name="connsiteY8" fmla="*/ 273174 h 1525221"/>
                    <a:gd name="connsiteX9" fmla="*/ 1126342 w 1775631"/>
                    <a:gd name="connsiteY9" fmla="*/ 227645 h 1525221"/>
                    <a:gd name="connsiteX10" fmla="*/ 318703 w 1775631"/>
                    <a:gd name="connsiteY10" fmla="*/ 227645 h 1525221"/>
                    <a:gd name="connsiteX11" fmla="*/ 318703 w 1775631"/>
                    <a:gd name="connsiteY11" fmla="*/ 159352 h 1525221"/>
                    <a:gd name="connsiteX12" fmla="*/ 159352 w 1775631"/>
                    <a:gd name="connsiteY12" fmla="*/ 0 h 1525221"/>
                    <a:gd name="connsiteX13" fmla="*/ 0 w 1775631"/>
                    <a:gd name="connsiteY13" fmla="*/ 159352 h 1525221"/>
                    <a:gd name="connsiteX14" fmla="*/ 0 w 1775631"/>
                    <a:gd name="connsiteY14" fmla="*/ 1365870 h 1525221"/>
                    <a:gd name="connsiteX15" fmla="*/ 1821 w 1775631"/>
                    <a:gd name="connsiteY15" fmla="*/ 1388635 h 1525221"/>
                    <a:gd name="connsiteX16" fmla="*/ 149244 w 1775631"/>
                    <a:gd name="connsiteY16" fmla="*/ 1524607 h 1525221"/>
                    <a:gd name="connsiteX17" fmla="*/ 1775631 w 1775631"/>
                    <a:gd name="connsiteY17" fmla="*/ 1525222 h 1525221"/>
                    <a:gd name="connsiteX18" fmla="*/ 1775631 w 1775631"/>
                    <a:gd name="connsiteY18" fmla="*/ 227645 h 1525221"/>
                    <a:gd name="connsiteX19" fmla="*/ 45529 w 1775631"/>
                    <a:gd name="connsiteY19" fmla="*/ 159352 h 1525221"/>
                    <a:gd name="connsiteX20" fmla="*/ 159352 w 1775631"/>
                    <a:gd name="connsiteY20" fmla="*/ 45529 h 1525221"/>
                    <a:gd name="connsiteX21" fmla="*/ 273174 w 1775631"/>
                    <a:gd name="connsiteY21" fmla="*/ 159352 h 1525221"/>
                    <a:gd name="connsiteX22" fmla="*/ 273174 w 1775631"/>
                    <a:gd name="connsiteY22" fmla="*/ 1254552 h 1525221"/>
                    <a:gd name="connsiteX23" fmla="*/ 48513 w 1775631"/>
                    <a:gd name="connsiteY23" fmla="*/ 1251567 h 1525221"/>
                    <a:gd name="connsiteX24" fmla="*/ 45529 w 1775631"/>
                    <a:gd name="connsiteY24" fmla="*/ 1254552 h 1525221"/>
                    <a:gd name="connsiteX25" fmla="*/ 45529 w 1775631"/>
                    <a:gd name="connsiteY25" fmla="*/ 1365870 h 1525221"/>
                    <a:gd name="connsiteX26" fmla="*/ 159352 w 1775631"/>
                    <a:gd name="connsiteY26" fmla="*/ 1252048 h 1525221"/>
                    <a:gd name="connsiteX27" fmla="*/ 273174 w 1775631"/>
                    <a:gd name="connsiteY27" fmla="*/ 1365870 h 1525221"/>
                    <a:gd name="connsiteX28" fmla="*/ 159352 w 1775631"/>
                    <a:gd name="connsiteY28" fmla="*/ 1479693 h 1525221"/>
                    <a:gd name="connsiteX29" fmla="*/ 45529 w 1775631"/>
                    <a:gd name="connsiteY29" fmla="*/ 1365870 h 15252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775631" h="1525221">
                      <a:moveTo>
                        <a:pt x="1606286" y="227645"/>
                      </a:moveTo>
                      <a:lnTo>
                        <a:pt x="1560757" y="273174"/>
                      </a:lnTo>
                      <a:lnTo>
                        <a:pt x="1730102" y="273174"/>
                      </a:lnTo>
                      <a:lnTo>
                        <a:pt x="1730102" y="1479693"/>
                      </a:lnTo>
                      <a:lnTo>
                        <a:pt x="270670" y="1479693"/>
                      </a:lnTo>
                      <a:cubicBezTo>
                        <a:pt x="295668" y="1455248"/>
                        <a:pt x="311910" y="1423244"/>
                        <a:pt x="316882" y="1388635"/>
                      </a:cubicBezTo>
                      <a:lnTo>
                        <a:pt x="318703" y="1365870"/>
                      </a:lnTo>
                      <a:lnTo>
                        <a:pt x="318703" y="273174"/>
                      </a:lnTo>
                      <a:lnTo>
                        <a:pt x="1080813" y="273174"/>
                      </a:lnTo>
                      <a:lnTo>
                        <a:pt x="1126342" y="227645"/>
                      </a:lnTo>
                      <a:lnTo>
                        <a:pt x="318703" y="227645"/>
                      </a:lnTo>
                      <a:lnTo>
                        <a:pt x="318703" y="159352"/>
                      </a:lnTo>
                      <a:cubicBezTo>
                        <a:pt x="318703" y="71344"/>
                        <a:pt x="247359" y="0"/>
                        <a:pt x="159352" y="0"/>
                      </a:cubicBezTo>
                      <a:cubicBezTo>
                        <a:pt x="71344" y="0"/>
                        <a:pt x="0" y="71344"/>
                        <a:pt x="0" y="159352"/>
                      </a:cubicBezTo>
                      <a:lnTo>
                        <a:pt x="0" y="1365870"/>
                      </a:lnTo>
                      <a:lnTo>
                        <a:pt x="1821" y="1388635"/>
                      </a:lnTo>
                      <a:cubicBezTo>
                        <a:pt x="12703" y="1463077"/>
                        <a:pt x="74167" y="1519767"/>
                        <a:pt x="149244" y="1524607"/>
                      </a:cubicBezTo>
                      <a:lnTo>
                        <a:pt x="1775631" y="1525222"/>
                      </a:lnTo>
                      <a:lnTo>
                        <a:pt x="1775631" y="227645"/>
                      </a:lnTo>
                      <a:close/>
                      <a:moveTo>
                        <a:pt x="45529" y="159352"/>
                      </a:moveTo>
                      <a:cubicBezTo>
                        <a:pt x="45529" y="96490"/>
                        <a:pt x="96490" y="45529"/>
                        <a:pt x="159352" y="45529"/>
                      </a:cubicBezTo>
                      <a:cubicBezTo>
                        <a:pt x="222213" y="45529"/>
                        <a:pt x="273174" y="96490"/>
                        <a:pt x="273174" y="159352"/>
                      </a:cubicBezTo>
                      <a:lnTo>
                        <a:pt x="273174" y="1254552"/>
                      </a:lnTo>
                      <a:cubicBezTo>
                        <a:pt x="211960" y="1191690"/>
                        <a:pt x="111375" y="1190354"/>
                        <a:pt x="48513" y="1251567"/>
                      </a:cubicBezTo>
                      <a:cubicBezTo>
                        <a:pt x="47505" y="1252548"/>
                        <a:pt x="46510" y="1253543"/>
                        <a:pt x="45529" y="1254552"/>
                      </a:cubicBezTo>
                      <a:close/>
                      <a:moveTo>
                        <a:pt x="45529" y="1365870"/>
                      </a:moveTo>
                      <a:cubicBezTo>
                        <a:pt x="45529" y="1303008"/>
                        <a:pt x="96490" y="1252048"/>
                        <a:pt x="159352" y="1252048"/>
                      </a:cubicBezTo>
                      <a:cubicBezTo>
                        <a:pt x="222213" y="1252048"/>
                        <a:pt x="273174" y="1303008"/>
                        <a:pt x="273174" y="1365870"/>
                      </a:cubicBezTo>
                      <a:cubicBezTo>
                        <a:pt x="273174" y="1428732"/>
                        <a:pt x="222213" y="1479693"/>
                        <a:pt x="159352" y="1479693"/>
                      </a:cubicBezTo>
                      <a:cubicBezTo>
                        <a:pt x="96519" y="1479617"/>
                        <a:pt x="45604" y="1428702"/>
                        <a:pt x="45529" y="1365870"/>
                      </a:cubicBezTo>
                      <a:close/>
                    </a:path>
                  </a:pathLst>
                </a:custGeom>
                <a:grpFill/>
                <a:ln w="227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6" name="Freihandform: Form 15">
                  <a:extLst>
                    <a:ext uri="{FF2B5EF4-FFF2-40B4-BE49-F238E27FC236}">
                      <a16:creationId xmlns:a16="http://schemas.microsoft.com/office/drawing/2014/main" id="{EB0C3D50-8B96-3984-CB3A-F7FC05E75C68}"/>
                    </a:ext>
                  </a:extLst>
                </p:cNvPr>
                <p:cNvSpPr/>
                <p:nvPr/>
              </p:nvSpPr>
              <p:spPr>
                <a:xfrm>
                  <a:off x="4781999" y="2073160"/>
                  <a:ext cx="899199" cy="899217"/>
                </a:xfrm>
                <a:custGeom>
                  <a:avLst/>
                  <a:gdLst>
                    <a:gd name="connsiteX0" fmla="*/ 0 w 899199"/>
                    <a:gd name="connsiteY0" fmla="*/ 899218 h 899217"/>
                    <a:gd name="connsiteX1" fmla="*/ 214442 w 899199"/>
                    <a:gd name="connsiteY1" fmla="*/ 828489 h 899217"/>
                    <a:gd name="connsiteX2" fmla="*/ 884742 w 899199"/>
                    <a:gd name="connsiteY2" fmla="*/ 156003 h 899217"/>
                    <a:gd name="connsiteX3" fmla="*/ 888621 w 899199"/>
                    <a:gd name="connsiteY3" fmla="*/ 95988 h 899217"/>
                    <a:gd name="connsiteX4" fmla="*/ 885858 w 899199"/>
                    <a:gd name="connsiteY4" fmla="*/ 93127 h 899217"/>
                    <a:gd name="connsiteX5" fmla="*/ 806182 w 899199"/>
                    <a:gd name="connsiteY5" fmla="*/ 13451 h 899217"/>
                    <a:gd name="connsiteX6" fmla="*/ 742860 w 899199"/>
                    <a:gd name="connsiteY6" fmla="*/ 12782 h 899217"/>
                    <a:gd name="connsiteX7" fmla="*/ 742191 w 899199"/>
                    <a:gd name="connsiteY7" fmla="*/ 13451 h 899217"/>
                    <a:gd name="connsiteX8" fmla="*/ 70775 w 899199"/>
                    <a:gd name="connsiteY8" fmla="*/ 685915 h 899217"/>
                    <a:gd name="connsiteX9" fmla="*/ 774175 w 899199"/>
                    <a:gd name="connsiteY9" fmla="*/ 45822 h 899217"/>
                    <a:gd name="connsiteX10" fmla="*/ 852326 w 899199"/>
                    <a:gd name="connsiteY10" fmla="*/ 124018 h 899217"/>
                    <a:gd name="connsiteX11" fmla="*/ 782325 w 899199"/>
                    <a:gd name="connsiteY11" fmla="*/ 194019 h 899217"/>
                    <a:gd name="connsiteX12" fmla="*/ 704129 w 899199"/>
                    <a:gd name="connsiteY12" fmla="*/ 115823 h 899217"/>
                    <a:gd name="connsiteX13" fmla="*/ 664336 w 899199"/>
                    <a:gd name="connsiteY13" fmla="*/ 155638 h 899217"/>
                    <a:gd name="connsiteX14" fmla="*/ 671940 w 899199"/>
                    <a:gd name="connsiteY14" fmla="*/ 148012 h 899217"/>
                    <a:gd name="connsiteX15" fmla="*/ 750978 w 899199"/>
                    <a:gd name="connsiteY15" fmla="*/ 226982 h 899217"/>
                    <a:gd name="connsiteX16" fmla="*/ 743079 w 899199"/>
                    <a:gd name="connsiteY16" fmla="*/ 235451 h 899217"/>
                    <a:gd name="connsiteX17" fmla="*/ 250796 w 899199"/>
                    <a:gd name="connsiteY17" fmla="*/ 727801 h 899217"/>
                    <a:gd name="connsiteX18" fmla="*/ 171644 w 899199"/>
                    <a:gd name="connsiteY18" fmla="*/ 649309 h 899217"/>
                    <a:gd name="connsiteX19" fmla="*/ 110613 w 899199"/>
                    <a:gd name="connsiteY19" fmla="*/ 710455 h 899217"/>
                    <a:gd name="connsiteX20" fmla="*/ 119923 w 899199"/>
                    <a:gd name="connsiteY20" fmla="*/ 701121 h 899217"/>
                    <a:gd name="connsiteX21" fmla="*/ 150360 w 899199"/>
                    <a:gd name="connsiteY21" fmla="*/ 692516 h 899217"/>
                    <a:gd name="connsiteX22" fmla="*/ 190903 w 899199"/>
                    <a:gd name="connsiteY22" fmla="*/ 709499 h 899217"/>
                    <a:gd name="connsiteX23" fmla="*/ 197960 w 899199"/>
                    <a:gd name="connsiteY23" fmla="*/ 780638 h 899217"/>
                    <a:gd name="connsiteX24" fmla="*/ 189947 w 899199"/>
                    <a:gd name="connsiteY24" fmla="*/ 788651 h 899217"/>
                    <a:gd name="connsiteX25" fmla="*/ 94860 w 899199"/>
                    <a:gd name="connsiteY25" fmla="*/ 820020 h 899217"/>
                    <a:gd name="connsiteX26" fmla="*/ 79403 w 899199"/>
                    <a:gd name="connsiteY26" fmla="*/ 804563 h 8992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899199" h="899217">
                      <a:moveTo>
                        <a:pt x="0" y="899218"/>
                      </a:moveTo>
                      <a:lnTo>
                        <a:pt x="214442" y="828489"/>
                      </a:lnTo>
                      <a:lnTo>
                        <a:pt x="884742" y="156003"/>
                      </a:lnTo>
                      <a:cubicBezTo>
                        <a:pt x="902385" y="140502"/>
                        <a:pt x="904122" y="113633"/>
                        <a:pt x="888621" y="95988"/>
                      </a:cubicBezTo>
                      <a:cubicBezTo>
                        <a:pt x="887745" y="94994"/>
                        <a:pt x="886823" y="94038"/>
                        <a:pt x="885858" y="93127"/>
                      </a:cubicBezTo>
                      <a:lnTo>
                        <a:pt x="806182" y="13451"/>
                      </a:lnTo>
                      <a:cubicBezTo>
                        <a:pt x="788881" y="-4219"/>
                        <a:pt x="760530" y="-4519"/>
                        <a:pt x="742860" y="12782"/>
                      </a:cubicBezTo>
                      <a:cubicBezTo>
                        <a:pt x="742635" y="13003"/>
                        <a:pt x="742412" y="13226"/>
                        <a:pt x="742191" y="13451"/>
                      </a:cubicBezTo>
                      <a:lnTo>
                        <a:pt x="70775" y="685915"/>
                      </a:lnTo>
                      <a:close/>
                      <a:moveTo>
                        <a:pt x="774175" y="45822"/>
                      </a:moveTo>
                      <a:lnTo>
                        <a:pt x="852326" y="124018"/>
                      </a:lnTo>
                      <a:lnTo>
                        <a:pt x="782325" y="194019"/>
                      </a:lnTo>
                      <a:lnTo>
                        <a:pt x="704129" y="115823"/>
                      </a:lnTo>
                      <a:close/>
                      <a:moveTo>
                        <a:pt x="664336" y="155638"/>
                      </a:moveTo>
                      <a:lnTo>
                        <a:pt x="671940" y="148012"/>
                      </a:lnTo>
                      <a:lnTo>
                        <a:pt x="750978" y="226982"/>
                      </a:lnTo>
                      <a:lnTo>
                        <a:pt x="743079" y="235451"/>
                      </a:lnTo>
                      <a:lnTo>
                        <a:pt x="250796" y="727801"/>
                      </a:lnTo>
                      <a:cubicBezTo>
                        <a:pt x="242066" y="688391"/>
                        <a:pt x="211127" y="657709"/>
                        <a:pt x="171644" y="649309"/>
                      </a:cubicBezTo>
                      <a:close/>
                      <a:moveTo>
                        <a:pt x="110613" y="710455"/>
                      </a:moveTo>
                      <a:lnTo>
                        <a:pt x="119923" y="701121"/>
                      </a:lnTo>
                      <a:cubicBezTo>
                        <a:pt x="129100" y="695546"/>
                        <a:pt x="139622" y="692571"/>
                        <a:pt x="150360" y="692516"/>
                      </a:cubicBezTo>
                      <a:cubicBezTo>
                        <a:pt x="165603" y="692519"/>
                        <a:pt x="180208" y="698638"/>
                        <a:pt x="190903" y="709499"/>
                      </a:cubicBezTo>
                      <a:cubicBezTo>
                        <a:pt x="210301" y="728311"/>
                        <a:pt x="213285" y="758381"/>
                        <a:pt x="197960" y="780638"/>
                      </a:cubicBezTo>
                      <a:lnTo>
                        <a:pt x="189947" y="788651"/>
                      </a:lnTo>
                      <a:lnTo>
                        <a:pt x="94860" y="820020"/>
                      </a:lnTo>
                      <a:lnTo>
                        <a:pt x="79403" y="804563"/>
                      </a:lnTo>
                      <a:close/>
                    </a:path>
                  </a:pathLst>
                </a:custGeom>
                <a:grpFill/>
                <a:ln w="227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pic>
            <p:nvPicPr>
              <p:cNvPr id="14" name="Grafik 13" descr="Fabrik Silhouette">
                <a:extLst>
                  <a:ext uri="{FF2B5EF4-FFF2-40B4-BE49-F238E27FC236}">
                    <a16:creationId xmlns:a16="http://schemas.microsoft.com/office/drawing/2014/main" id="{51630938-4788-1AD7-4FF1-6E183CE68D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368770" y="2442300"/>
                <a:ext cx="1236817" cy="1236817"/>
              </a:xfrm>
              <a:prstGeom prst="rect">
                <a:avLst/>
              </a:prstGeom>
            </p:spPr>
          </p:pic>
        </p:grpSp>
      </p:grp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1E01A65-F4AA-AAF4-FEB8-EB16946CA135}"/>
              </a:ext>
            </a:extLst>
          </p:cNvPr>
          <p:cNvCxnSpPr/>
          <p:nvPr/>
        </p:nvCxnSpPr>
        <p:spPr>
          <a:xfrm>
            <a:off x="1919536" y="1381017"/>
            <a:ext cx="0" cy="4280231"/>
          </a:xfrm>
          <a:prstGeom prst="line">
            <a:avLst/>
          </a:prstGeom>
          <a:ln>
            <a:solidFill>
              <a:srgbClr val="FAA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13825DB4-65EA-DB69-F54C-A9A8BA24E7FA}"/>
              </a:ext>
            </a:extLst>
          </p:cNvPr>
          <p:cNvCxnSpPr/>
          <p:nvPr/>
        </p:nvCxnSpPr>
        <p:spPr>
          <a:xfrm>
            <a:off x="7377386" y="1381017"/>
            <a:ext cx="0" cy="4280231"/>
          </a:xfrm>
          <a:prstGeom prst="line">
            <a:avLst/>
          </a:prstGeom>
          <a:ln>
            <a:solidFill>
              <a:srgbClr val="FAA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6E49270B-CE96-C22B-34EF-CB25059A0CFB}"/>
              </a:ext>
            </a:extLst>
          </p:cNvPr>
          <p:cNvGrpSpPr>
            <a:grpSpLocks noChangeAspect="1"/>
          </p:cNvGrpSpPr>
          <p:nvPr/>
        </p:nvGrpSpPr>
        <p:grpSpPr>
          <a:xfrm>
            <a:off x="213759" y="4055838"/>
            <a:ext cx="1548000" cy="1070861"/>
            <a:chOff x="10138333" y="5042945"/>
            <a:chExt cx="1894725" cy="1310717"/>
          </a:xfrm>
        </p:grpSpPr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E84396C1-618E-3FA8-B1D8-F291FBE30A5B}"/>
                </a:ext>
              </a:extLst>
            </p:cNvPr>
            <p:cNvGrpSpPr/>
            <p:nvPr/>
          </p:nvGrpSpPr>
          <p:grpSpPr>
            <a:xfrm>
              <a:off x="10653447" y="5647362"/>
              <a:ext cx="866210" cy="552690"/>
              <a:chOff x="4667995" y="4402667"/>
              <a:chExt cx="2856010" cy="1822293"/>
            </a:xfrm>
          </p:grpSpPr>
          <p:sp>
            <p:nvSpPr>
              <p:cNvPr id="56" name="Freihandform 76">
                <a:extLst>
                  <a:ext uri="{FF2B5EF4-FFF2-40B4-BE49-F238E27FC236}">
                    <a16:creationId xmlns:a16="http://schemas.microsoft.com/office/drawing/2014/main" id="{012E57E6-BAF7-23C2-DD00-F7D4C1039B54}"/>
                  </a:ext>
                </a:extLst>
              </p:cNvPr>
              <p:cNvSpPr/>
              <p:nvPr/>
            </p:nvSpPr>
            <p:spPr>
              <a:xfrm>
                <a:off x="6740075" y="4875879"/>
                <a:ext cx="783930" cy="1157713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Freihandform 77">
                <a:extLst>
                  <a:ext uri="{FF2B5EF4-FFF2-40B4-BE49-F238E27FC236}">
                    <a16:creationId xmlns:a16="http://schemas.microsoft.com/office/drawing/2014/main" id="{DF3B606A-665C-15BA-1D34-6754A690BB4A}"/>
                  </a:ext>
                </a:extLst>
              </p:cNvPr>
              <p:cNvSpPr/>
              <p:nvPr/>
            </p:nvSpPr>
            <p:spPr>
              <a:xfrm>
                <a:off x="4667995" y="4879549"/>
                <a:ext cx="781444" cy="1154044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Freihandform 78">
                <a:extLst>
                  <a:ext uri="{FF2B5EF4-FFF2-40B4-BE49-F238E27FC236}">
                    <a16:creationId xmlns:a16="http://schemas.microsoft.com/office/drawing/2014/main" id="{03F60F39-EA4C-0298-627B-E9CF799BFF10}"/>
                  </a:ext>
                </a:extLst>
              </p:cNvPr>
              <p:cNvSpPr/>
              <p:nvPr/>
            </p:nvSpPr>
            <p:spPr>
              <a:xfrm>
                <a:off x="5542749" y="4580525"/>
                <a:ext cx="1113505" cy="1644435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59" name="Gruppieren 58">
                <a:extLst>
                  <a:ext uri="{FF2B5EF4-FFF2-40B4-BE49-F238E27FC236}">
                    <a16:creationId xmlns:a16="http://schemas.microsoft.com/office/drawing/2014/main" id="{ABF5D901-4070-6705-D036-589E25CC64C4}"/>
                  </a:ext>
                </a:extLst>
              </p:cNvPr>
              <p:cNvGrpSpPr/>
              <p:nvPr/>
            </p:nvGrpSpPr>
            <p:grpSpPr>
              <a:xfrm>
                <a:off x="5574140" y="4402667"/>
                <a:ext cx="1043720" cy="546975"/>
                <a:chOff x="8472264" y="2426134"/>
                <a:chExt cx="1043720" cy="546975"/>
              </a:xfrm>
            </p:grpSpPr>
            <p:sp>
              <p:nvSpPr>
                <p:cNvPr id="66" name="Freihandform: Form 65">
                  <a:extLst>
                    <a:ext uri="{FF2B5EF4-FFF2-40B4-BE49-F238E27FC236}">
                      <a16:creationId xmlns:a16="http://schemas.microsoft.com/office/drawing/2014/main" id="{A3BA4ED5-B562-3467-54DD-3E887FC70035}"/>
                    </a:ext>
                  </a:extLst>
                </p:cNvPr>
                <p:cNvSpPr/>
                <p:nvPr/>
              </p:nvSpPr>
              <p:spPr>
                <a:xfrm>
                  <a:off x="8599858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solidFill>
                    <a:srgbClr val="FFFF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7" name="Freihandform: Form 66" descr="Bauarbeiter Silhouette">
                  <a:extLst>
                    <a:ext uri="{FF2B5EF4-FFF2-40B4-BE49-F238E27FC236}">
                      <a16:creationId xmlns:a16="http://schemas.microsoft.com/office/drawing/2014/main" id="{00994C62-9F0D-395F-E7E7-7E15F2B70A40}"/>
                    </a:ext>
                  </a:extLst>
                </p:cNvPr>
                <p:cNvSpPr/>
                <p:nvPr/>
              </p:nvSpPr>
              <p:spPr>
                <a:xfrm>
                  <a:off x="8472264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0" name="Gruppieren 59">
                <a:extLst>
                  <a:ext uri="{FF2B5EF4-FFF2-40B4-BE49-F238E27FC236}">
                    <a16:creationId xmlns:a16="http://schemas.microsoft.com/office/drawing/2014/main" id="{4B4C3838-5364-586F-B223-94838145FDEA}"/>
                  </a:ext>
                </a:extLst>
              </p:cNvPr>
              <p:cNvGrpSpPr/>
              <p:nvPr/>
            </p:nvGrpSpPr>
            <p:grpSpPr>
              <a:xfrm>
                <a:off x="6750373" y="4704898"/>
                <a:ext cx="768383" cy="402681"/>
                <a:chOff x="9650969" y="2426134"/>
                <a:chExt cx="1043720" cy="546975"/>
              </a:xfrm>
            </p:grpSpPr>
            <p:sp>
              <p:nvSpPr>
                <p:cNvPr id="64" name="Freihandform: Form 63">
                  <a:extLst>
                    <a:ext uri="{FF2B5EF4-FFF2-40B4-BE49-F238E27FC236}">
                      <a16:creationId xmlns:a16="http://schemas.microsoft.com/office/drawing/2014/main" id="{C93C2AA9-91A0-36F0-BC42-A424973FB65E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5" name="Freihandform: Form 64" descr="Bauarbeiter Silhouette">
                  <a:extLst>
                    <a:ext uri="{FF2B5EF4-FFF2-40B4-BE49-F238E27FC236}">
                      <a16:creationId xmlns:a16="http://schemas.microsoft.com/office/drawing/2014/main" id="{1D05529D-0195-FAE6-1157-93A43EC0E90A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1" name="Gruppieren 60">
                <a:extLst>
                  <a:ext uri="{FF2B5EF4-FFF2-40B4-BE49-F238E27FC236}">
                    <a16:creationId xmlns:a16="http://schemas.microsoft.com/office/drawing/2014/main" id="{A14986DE-DCCB-450D-922A-CCB5596423A9}"/>
                  </a:ext>
                </a:extLst>
              </p:cNvPr>
              <p:cNvGrpSpPr/>
              <p:nvPr/>
            </p:nvGrpSpPr>
            <p:grpSpPr>
              <a:xfrm>
                <a:off x="4679545" y="4704898"/>
                <a:ext cx="768383" cy="402681"/>
                <a:chOff x="9650969" y="2426134"/>
                <a:chExt cx="1043720" cy="546975"/>
              </a:xfrm>
            </p:grpSpPr>
            <p:sp>
              <p:nvSpPr>
                <p:cNvPr id="62" name="Freihandform: Form 61">
                  <a:extLst>
                    <a:ext uri="{FF2B5EF4-FFF2-40B4-BE49-F238E27FC236}">
                      <a16:creationId xmlns:a16="http://schemas.microsoft.com/office/drawing/2014/main" id="{B5D487D5-2E2B-E7B5-0CAB-7870CBCFEAFA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3" name="Freihandform: Form 62" descr="Bauarbeiter Silhouette">
                  <a:extLst>
                    <a:ext uri="{FF2B5EF4-FFF2-40B4-BE49-F238E27FC236}">
                      <a16:creationId xmlns:a16="http://schemas.microsoft.com/office/drawing/2014/main" id="{0880FEA6-1788-4777-23B3-72B4533F1D1D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sp>
          <p:nvSpPr>
            <p:cNvPr id="20" name="Freihandform 77">
              <a:extLst>
                <a:ext uri="{FF2B5EF4-FFF2-40B4-BE49-F238E27FC236}">
                  <a16:creationId xmlns:a16="http://schemas.microsoft.com/office/drawing/2014/main" id="{A3B99758-87C5-62F5-93E2-031CDAF99B34}"/>
                </a:ext>
              </a:extLst>
            </p:cNvPr>
            <p:cNvSpPr/>
            <p:nvPr/>
          </p:nvSpPr>
          <p:spPr>
            <a:xfrm>
              <a:off x="11238785" y="5368178"/>
              <a:ext cx="237007" cy="350014"/>
            </a:xfrm>
            <a:custGeom>
              <a:avLst/>
              <a:gdLst>
                <a:gd name="connsiteX0" fmla="*/ 362901 w 1080000"/>
                <a:gd name="connsiteY0" fmla="*/ 735472 h 1594954"/>
                <a:gd name="connsiteX1" fmla="*/ 363219 w 1080000"/>
                <a:gd name="connsiteY1" fmla="*/ 735472 h 1594954"/>
                <a:gd name="connsiteX2" fmla="*/ 399872 w 1080000"/>
                <a:gd name="connsiteY2" fmla="*/ 755367 h 1594954"/>
                <a:gd name="connsiteX3" fmla="*/ 540000 w 1080000"/>
                <a:gd name="connsiteY3" fmla="*/ 783657 h 1594954"/>
                <a:gd name="connsiteX4" fmla="*/ 680129 w 1080000"/>
                <a:gd name="connsiteY4" fmla="*/ 755367 h 1594954"/>
                <a:gd name="connsiteX5" fmla="*/ 716782 w 1080000"/>
                <a:gd name="connsiteY5" fmla="*/ 735472 h 1594954"/>
                <a:gd name="connsiteX6" fmla="*/ 717099 w 1080000"/>
                <a:gd name="connsiteY6" fmla="*/ 735472 h 1594954"/>
                <a:gd name="connsiteX7" fmla="*/ 1080000 w 1080000"/>
                <a:gd name="connsiteY7" fmla="*/ 936327 h 1594954"/>
                <a:gd name="connsiteX8" fmla="*/ 1080000 w 1080000"/>
                <a:gd name="connsiteY8" fmla="*/ 1396511 h 1594954"/>
                <a:gd name="connsiteX9" fmla="*/ 0 w 1080000"/>
                <a:gd name="connsiteY9" fmla="*/ 1396511 h 1594954"/>
                <a:gd name="connsiteX10" fmla="*/ 0 w 1080000"/>
                <a:gd name="connsiteY10" fmla="*/ 936327 h 1594954"/>
                <a:gd name="connsiteX11" fmla="*/ 362901 w 1080000"/>
                <a:gd name="connsiteY11" fmla="*/ 735472 h 1594954"/>
                <a:gd name="connsiteX12" fmla="*/ 540000 w 1080000"/>
                <a:gd name="connsiteY12" fmla="*/ 0 h 1594954"/>
                <a:gd name="connsiteX13" fmla="*/ 900000 w 1080000"/>
                <a:gd name="connsiteY13" fmla="*/ 360000 h 1594954"/>
                <a:gd name="connsiteX14" fmla="*/ 540000 w 1080000"/>
                <a:gd name="connsiteY14" fmla="*/ 720000 h 1594954"/>
                <a:gd name="connsiteX15" fmla="*/ 180000 w 1080000"/>
                <a:gd name="connsiteY15" fmla="*/ 360000 h 1594954"/>
                <a:gd name="connsiteX16" fmla="*/ 540000 w 1080000"/>
                <a:gd name="connsiteY16" fmla="*/ 0 h 159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80000" h="1594954">
                  <a:moveTo>
                    <a:pt x="362901" y="735472"/>
                  </a:moveTo>
                  <a:lnTo>
                    <a:pt x="363219" y="735472"/>
                  </a:lnTo>
                  <a:lnTo>
                    <a:pt x="399872" y="755367"/>
                  </a:lnTo>
                  <a:cubicBezTo>
                    <a:pt x="442942" y="773584"/>
                    <a:pt x="490295" y="783657"/>
                    <a:pt x="540000" y="783657"/>
                  </a:cubicBezTo>
                  <a:cubicBezTo>
                    <a:pt x="589706" y="783657"/>
                    <a:pt x="637059" y="773584"/>
                    <a:pt x="680129" y="755367"/>
                  </a:cubicBezTo>
                  <a:lnTo>
                    <a:pt x="716782" y="735472"/>
                  </a:lnTo>
                  <a:lnTo>
                    <a:pt x="717099" y="735472"/>
                  </a:lnTo>
                  <a:cubicBezTo>
                    <a:pt x="917524" y="735472"/>
                    <a:pt x="1080000" y="825398"/>
                    <a:pt x="1080000" y="936327"/>
                  </a:cubicBezTo>
                  <a:lnTo>
                    <a:pt x="1080000" y="1396511"/>
                  </a:lnTo>
                  <a:cubicBezTo>
                    <a:pt x="691917" y="1681653"/>
                    <a:pt x="253274" y="1639722"/>
                    <a:pt x="0" y="1396511"/>
                  </a:cubicBezTo>
                  <a:lnTo>
                    <a:pt x="0" y="936327"/>
                  </a:lnTo>
                  <a:cubicBezTo>
                    <a:pt x="0" y="825398"/>
                    <a:pt x="162477" y="735472"/>
                    <a:pt x="362901" y="735472"/>
                  </a:cubicBezTo>
                  <a:close/>
                  <a:moveTo>
                    <a:pt x="540000" y="0"/>
                  </a:moveTo>
                  <a:cubicBezTo>
                    <a:pt x="738823" y="0"/>
                    <a:pt x="900000" y="161177"/>
                    <a:pt x="900000" y="360000"/>
                  </a:cubicBezTo>
                  <a:cubicBezTo>
                    <a:pt x="900000" y="558823"/>
                    <a:pt x="738823" y="720000"/>
                    <a:pt x="540000" y="720000"/>
                  </a:cubicBezTo>
                  <a:cubicBezTo>
                    <a:pt x="341177" y="720000"/>
                    <a:pt x="180000" y="558823"/>
                    <a:pt x="180000" y="360000"/>
                  </a:cubicBezTo>
                  <a:cubicBezTo>
                    <a:pt x="180000" y="161177"/>
                    <a:pt x="341177" y="0"/>
                    <a:pt x="540000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rIns="144000" rtlCol="0" anchor="ctr">
              <a:noAutofit/>
            </a:bodyPr>
            <a:lstStyle/>
            <a:p>
              <a:pPr algn="ctr"/>
              <a:endParaRPr lang="de-DE" err="1">
                <a:solidFill>
                  <a:prstClr val="white"/>
                </a:solidFill>
              </a:endParaRPr>
            </a:p>
          </p:txBody>
        </p:sp>
        <p:sp>
          <p:nvSpPr>
            <p:cNvPr id="21" name="Freihandform 78">
              <a:extLst>
                <a:ext uri="{FF2B5EF4-FFF2-40B4-BE49-F238E27FC236}">
                  <a16:creationId xmlns:a16="http://schemas.microsoft.com/office/drawing/2014/main" id="{7B5DBA28-D9BA-1A03-A08B-2ACC17745DF9}"/>
                </a:ext>
              </a:extLst>
            </p:cNvPr>
            <p:cNvSpPr/>
            <p:nvPr/>
          </p:nvSpPr>
          <p:spPr>
            <a:xfrm>
              <a:off x="11504092" y="5277486"/>
              <a:ext cx="337719" cy="498747"/>
            </a:xfrm>
            <a:custGeom>
              <a:avLst/>
              <a:gdLst>
                <a:gd name="connsiteX0" fmla="*/ 362901 w 1080000"/>
                <a:gd name="connsiteY0" fmla="*/ 735472 h 1594954"/>
                <a:gd name="connsiteX1" fmla="*/ 363219 w 1080000"/>
                <a:gd name="connsiteY1" fmla="*/ 735472 h 1594954"/>
                <a:gd name="connsiteX2" fmla="*/ 399872 w 1080000"/>
                <a:gd name="connsiteY2" fmla="*/ 755367 h 1594954"/>
                <a:gd name="connsiteX3" fmla="*/ 540000 w 1080000"/>
                <a:gd name="connsiteY3" fmla="*/ 783657 h 1594954"/>
                <a:gd name="connsiteX4" fmla="*/ 680129 w 1080000"/>
                <a:gd name="connsiteY4" fmla="*/ 755367 h 1594954"/>
                <a:gd name="connsiteX5" fmla="*/ 716782 w 1080000"/>
                <a:gd name="connsiteY5" fmla="*/ 735472 h 1594954"/>
                <a:gd name="connsiteX6" fmla="*/ 717099 w 1080000"/>
                <a:gd name="connsiteY6" fmla="*/ 735472 h 1594954"/>
                <a:gd name="connsiteX7" fmla="*/ 1080000 w 1080000"/>
                <a:gd name="connsiteY7" fmla="*/ 936327 h 1594954"/>
                <a:gd name="connsiteX8" fmla="*/ 1080000 w 1080000"/>
                <a:gd name="connsiteY8" fmla="*/ 1396511 h 1594954"/>
                <a:gd name="connsiteX9" fmla="*/ 0 w 1080000"/>
                <a:gd name="connsiteY9" fmla="*/ 1396511 h 1594954"/>
                <a:gd name="connsiteX10" fmla="*/ 0 w 1080000"/>
                <a:gd name="connsiteY10" fmla="*/ 936327 h 1594954"/>
                <a:gd name="connsiteX11" fmla="*/ 362901 w 1080000"/>
                <a:gd name="connsiteY11" fmla="*/ 735472 h 1594954"/>
                <a:gd name="connsiteX12" fmla="*/ 540000 w 1080000"/>
                <a:gd name="connsiteY12" fmla="*/ 0 h 1594954"/>
                <a:gd name="connsiteX13" fmla="*/ 900000 w 1080000"/>
                <a:gd name="connsiteY13" fmla="*/ 360000 h 1594954"/>
                <a:gd name="connsiteX14" fmla="*/ 540000 w 1080000"/>
                <a:gd name="connsiteY14" fmla="*/ 720000 h 1594954"/>
                <a:gd name="connsiteX15" fmla="*/ 180000 w 1080000"/>
                <a:gd name="connsiteY15" fmla="*/ 360000 h 1594954"/>
                <a:gd name="connsiteX16" fmla="*/ 540000 w 1080000"/>
                <a:gd name="connsiteY16" fmla="*/ 0 h 159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80000" h="1594954">
                  <a:moveTo>
                    <a:pt x="362901" y="735472"/>
                  </a:moveTo>
                  <a:lnTo>
                    <a:pt x="363219" y="735472"/>
                  </a:lnTo>
                  <a:lnTo>
                    <a:pt x="399872" y="755367"/>
                  </a:lnTo>
                  <a:cubicBezTo>
                    <a:pt x="442942" y="773584"/>
                    <a:pt x="490295" y="783657"/>
                    <a:pt x="540000" y="783657"/>
                  </a:cubicBezTo>
                  <a:cubicBezTo>
                    <a:pt x="589706" y="783657"/>
                    <a:pt x="637059" y="773584"/>
                    <a:pt x="680129" y="755367"/>
                  </a:cubicBezTo>
                  <a:lnTo>
                    <a:pt x="716782" y="735472"/>
                  </a:lnTo>
                  <a:lnTo>
                    <a:pt x="717099" y="735472"/>
                  </a:lnTo>
                  <a:cubicBezTo>
                    <a:pt x="917524" y="735472"/>
                    <a:pt x="1080000" y="825398"/>
                    <a:pt x="1080000" y="936327"/>
                  </a:cubicBezTo>
                  <a:lnTo>
                    <a:pt x="1080000" y="1396511"/>
                  </a:lnTo>
                  <a:cubicBezTo>
                    <a:pt x="691917" y="1681653"/>
                    <a:pt x="253274" y="1639722"/>
                    <a:pt x="0" y="1396511"/>
                  </a:cubicBezTo>
                  <a:lnTo>
                    <a:pt x="0" y="936327"/>
                  </a:lnTo>
                  <a:cubicBezTo>
                    <a:pt x="0" y="825398"/>
                    <a:pt x="162477" y="735472"/>
                    <a:pt x="362901" y="735472"/>
                  </a:cubicBezTo>
                  <a:close/>
                  <a:moveTo>
                    <a:pt x="540000" y="0"/>
                  </a:moveTo>
                  <a:cubicBezTo>
                    <a:pt x="738823" y="0"/>
                    <a:pt x="900000" y="161177"/>
                    <a:pt x="900000" y="360000"/>
                  </a:cubicBezTo>
                  <a:cubicBezTo>
                    <a:pt x="900000" y="558823"/>
                    <a:pt x="738823" y="720000"/>
                    <a:pt x="540000" y="720000"/>
                  </a:cubicBezTo>
                  <a:cubicBezTo>
                    <a:pt x="341177" y="720000"/>
                    <a:pt x="180000" y="558823"/>
                    <a:pt x="180000" y="360000"/>
                  </a:cubicBezTo>
                  <a:cubicBezTo>
                    <a:pt x="180000" y="161177"/>
                    <a:pt x="341177" y="0"/>
                    <a:pt x="540000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rIns="144000" rtlCol="0" anchor="ctr">
              <a:noAutofit/>
            </a:bodyPr>
            <a:lstStyle/>
            <a:p>
              <a:pPr algn="ctr"/>
              <a:endParaRPr lang="de-DE" err="1">
                <a:solidFill>
                  <a:prstClr val="white"/>
                </a:solidFill>
              </a:endParaRPr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8E4C41A8-16B2-A5DA-5B52-34148806BE41}"/>
                </a:ext>
              </a:extLst>
            </p:cNvPr>
            <p:cNvGrpSpPr/>
            <p:nvPr/>
          </p:nvGrpSpPr>
          <p:grpSpPr>
            <a:xfrm>
              <a:off x="11513613" y="5223543"/>
              <a:ext cx="316554" cy="165894"/>
              <a:chOff x="8472264" y="2426134"/>
              <a:chExt cx="1043720" cy="546975"/>
            </a:xfrm>
          </p:grpSpPr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764E35CB-4D21-3238-F670-80C7257AEC85}"/>
                  </a:ext>
                </a:extLst>
              </p:cNvPr>
              <p:cNvSpPr/>
              <p:nvPr/>
            </p:nvSpPr>
            <p:spPr>
              <a:xfrm>
                <a:off x="8599858" y="2459698"/>
                <a:ext cx="792088" cy="470008"/>
              </a:xfrm>
              <a:custGeom>
                <a:avLst/>
                <a:gdLst>
                  <a:gd name="connsiteX0" fmla="*/ 385091 w 792088"/>
                  <a:gd name="connsiteY0" fmla="*/ 0 h 470008"/>
                  <a:gd name="connsiteX1" fmla="*/ 550964 w 792088"/>
                  <a:gd name="connsiteY1" fmla="*/ 62507 h 470008"/>
                  <a:gd name="connsiteX2" fmla="*/ 553975 w 792088"/>
                  <a:gd name="connsiteY2" fmla="*/ 70987 h 470008"/>
                  <a:gd name="connsiteX3" fmla="*/ 566515 w 792088"/>
                  <a:gd name="connsiteY3" fmla="*/ 72426 h 470008"/>
                  <a:gd name="connsiteX4" fmla="*/ 676463 w 792088"/>
                  <a:gd name="connsiteY4" fmla="*/ 166728 h 470008"/>
                  <a:gd name="connsiteX5" fmla="*/ 698346 w 792088"/>
                  <a:gd name="connsiteY5" fmla="*/ 166728 h 470008"/>
                  <a:gd name="connsiteX6" fmla="*/ 722213 w 792088"/>
                  <a:gd name="connsiteY6" fmla="*/ 190595 h 470008"/>
                  <a:gd name="connsiteX7" fmla="*/ 722213 w 792088"/>
                  <a:gd name="connsiteY7" fmla="*/ 242649 h 470008"/>
                  <a:gd name="connsiteX8" fmla="*/ 744181 w 792088"/>
                  <a:gd name="connsiteY8" fmla="*/ 242649 h 470008"/>
                  <a:gd name="connsiteX9" fmla="*/ 768048 w 792088"/>
                  <a:gd name="connsiteY9" fmla="*/ 266516 h 470008"/>
                  <a:gd name="connsiteX10" fmla="*/ 768048 w 792088"/>
                  <a:gd name="connsiteY10" fmla="*/ 326806 h 470008"/>
                  <a:gd name="connsiteX11" fmla="*/ 768221 w 792088"/>
                  <a:gd name="connsiteY11" fmla="*/ 326806 h 470008"/>
                  <a:gd name="connsiteX12" fmla="*/ 792088 w 792088"/>
                  <a:gd name="connsiteY12" fmla="*/ 350673 h 470008"/>
                  <a:gd name="connsiteX13" fmla="*/ 792088 w 792088"/>
                  <a:gd name="connsiteY13" fmla="*/ 446141 h 470008"/>
                  <a:gd name="connsiteX14" fmla="*/ 768221 w 792088"/>
                  <a:gd name="connsiteY14" fmla="*/ 470008 h 470008"/>
                  <a:gd name="connsiteX15" fmla="*/ 23867 w 792088"/>
                  <a:gd name="connsiteY15" fmla="*/ 470008 h 470008"/>
                  <a:gd name="connsiteX16" fmla="*/ 0 w 792088"/>
                  <a:gd name="connsiteY16" fmla="*/ 446141 h 470008"/>
                  <a:gd name="connsiteX17" fmla="*/ 0 w 792088"/>
                  <a:gd name="connsiteY17" fmla="*/ 350673 h 470008"/>
                  <a:gd name="connsiteX18" fmla="*/ 6991 w 792088"/>
                  <a:gd name="connsiteY18" fmla="*/ 333797 h 470008"/>
                  <a:gd name="connsiteX19" fmla="*/ 12048 w 792088"/>
                  <a:gd name="connsiteY19" fmla="*/ 331702 h 470008"/>
                  <a:gd name="connsiteX20" fmla="*/ 12048 w 792088"/>
                  <a:gd name="connsiteY20" fmla="*/ 266516 h 470008"/>
                  <a:gd name="connsiteX21" fmla="*/ 35915 w 792088"/>
                  <a:gd name="connsiteY21" fmla="*/ 242649 h 470008"/>
                  <a:gd name="connsiteX22" fmla="*/ 74140 w 792088"/>
                  <a:gd name="connsiteY22" fmla="*/ 242649 h 470008"/>
                  <a:gd name="connsiteX23" fmla="*/ 74140 w 792088"/>
                  <a:gd name="connsiteY23" fmla="*/ 190595 h 470008"/>
                  <a:gd name="connsiteX24" fmla="*/ 98007 w 792088"/>
                  <a:gd name="connsiteY24" fmla="*/ 166728 h 470008"/>
                  <a:gd name="connsiteX25" fmla="*/ 119626 w 792088"/>
                  <a:gd name="connsiteY25" fmla="*/ 166728 h 470008"/>
                  <a:gd name="connsiteX26" fmla="*/ 172353 w 792088"/>
                  <a:gd name="connsiteY26" fmla="*/ 94359 h 470008"/>
                  <a:gd name="connsiteX27" fmla="*/ 213509 w 792088"/>
                  <a:gd name="connsiteY27" fmla="*/ 78584 h 470008"/>
                  <a:gd name="connsiteX28" fmla="*/ 219218 w 792088"/>
                  <a:gd name="connsiteY28" fmla="*/ 62507 h 470008"/>
                  <a:gd name="connsiteX29" fmla="*/ 385091 w 792088"/>
                  <a:gd name="connsiteY29" fmla="*/ 0 h 470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792088" h="470008">
                    <a:moveTo>
                      <a:pt x="385091" y="0"/>
                    </a:moveTo>
                    <a:cubicBezTo>
                      <a:pt x="459658" y="0"/>
                      <a:pt x="523635" y="25774"/>
                      <a:pt x="550964" y="62507"/>
                    </a:cubicBezTo>
                    <a:lnTo>
                      <a:pt x="553975" y="70987"/>
                    </a:lnTo>
                    <a:lnTo>
                      <a:pt x="566515" y="72426"/>
                    </a:lnTo>
                    <a:cubicBezTo>
                      <a:pt x="631127" y="87963"/>
                      <a:pt x="676463" y="124335"/>
                      <a:pt x="676463" y="166728"/>
                    </a:cubicBezTo>
                    <a:lnTo>
                      <a:pt x="698346" y="166728"/>
                    </a:lnTo>
                    <a:cubicBezTo>
                      <a:pt x="711527" y="166728"/>
                      <a:pt x="722213" y="177414"/>
                      <a:pt x="722213" y="190595"/>
                    </a:cubicBezTo>
                    <a:lnTo>
                      <a:pt x="722213" y="242649"/>
                    </a:lnTo>
                    <a:lnTo>
                      <a:pt x="744181" y="242649"/>
                    </a:lnTo>
                    <a:cubicBezTo>
                      <a:pt x="757362" y="242649"/>
                      <a:pt x="768048" y="253335"/>
                      <a:pt x="768048" y="266516"/>
                    </a:cubicBezTo>
                    <a:lnTo>
                      <a:pt x="768048" y="326806"/>
                    </a:lnTo>
                    <a:lnTo>
                      <a:pt x="768221" y="326806"/>
                    </a:lnTo>
                    <a:cubicBezTo>
                      <a:pt x="781402" y="326806"/>
                      <a:pt x="792088" y="337492"/>
                      <a:pt x="792088" y="350673"/>
                    </a:cubicBezTo>
                    <a:lnTo>
                      <a:pt x="792088" y="446141"/>
                    </a:lnTo>
                    <a:cubicBezTo>
                      <a:pt x="792088" y="459322"/>
                      <a:pt x="781402" y="470008"/>
                      <a:pt x="768221" y="470008"/>
                    </a:cubicBezTo>
                    <a:lnTo>
                      <a:pt x="23867" y="470008"/>
                    </a:lnTo>
                    <a:cubicBezTo>
                      <a:pt x="10686" y="470008"/>
                      <a:pt x="0" y="459322"/>
                      <a:pt x="0" y="446141"/>
                    </a:cubicBezTo>
                    <a:lnTo>
                      <a:pt x="0" y="350673"/>
                    </a:lnTo>
                    <a:cubicBezTo>
                      <a:pt x="0" y="344083"/>
                      <a:pt x="2672" y="338116"/>
                      <a:pt x="6991" y="333797"/>
                    </a:cubicBezTo>
                    <a:lnTo>
                      <a:pt x="12048" y="331702"/>
                    </a:lnTo>
                    <a:lnTo>
                      <a:pt x="12048" y="266516"/>
                    </a:lnTo>
                    <a:cubicBezTo>
                      <a:pt x="12048" y="253335"/>
                      <a:pt x="22734" y="242649"/>
                      <a:pt x="35915" y="242649"/>
                    </a:cubicBezTo>
                    <a:lnTo>
                      <a:pt x="74140" y="242649"/>
                    </a:lnTo>
                    <a:lnTo>
                      <a:pt x="74140" y="190595"/>
                    </a:lnTo>
                    <a:cubicBezTo>
                      <a:pt x="74140" y="177414"/>
                      <a:pt x="84826" y="166728"/>
                      <a:pt x="98007" y="166728"/>
                    </a:cubicBezTo>
                    <a:lnTo>
                      <a:pt x="119626" y="166728"/>
                    </a:lnTo>
                    <a:cubicBezTo>
                      <a:pt x="119626" y="138466"/>
                      <a:pt x="139776" y="112880"/>
                      <a:pt x="172353" y="94359"/>
                    </a:cubicBezTo>
                    <a:lnTo>
                      <a:pt x="213509" y="78584"/>
                    </a:lnTo>
                    <a:lnTo>
                      <a:pt x="219218" y="62507"/>
                    </a:lnTo>
                    <a:cubicBezTo>
                      <a:pt x="246547" y="25774"/>
                      <a:pt x="310525" y="0"/>
                      <a:pt x="385091" y="0"/>
                    </a:cubicBezTo>
                    <a:close/>
                  </a:path>
                </a:pathLst>
              </a:cu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55" name="Freihandform: Form 54" descr="Bauarbeiter Silhouette">
                <a:extLst>
                  <a:ext uri="{FF2B5EF4-FFF2-40B4-BE49-F238E27FC236}">
                    <a16:creationId xmlns:a16="http://schemas.microsoft.com/office/drawing/2014/main" id="{A2EE7EA8-7079-3842-0004-8E37DB6AA040}"/>
                  </a:ext>
                </a:extLst>
              </p:cNvPr>
              <p:cNvSpPr/>
              <p:nvPr/>
            </p:nvSpPr>
            <p:spPr>
              <a:xfrm>
                <a:off x="8472264" y="2426134"/>
                <a:ext cx="1043720" cy="546975"/>
              </a:xfrm>
              <a:custGeom>
                <a:avLst/>
                <a:gdLst>
                  <a:gd name="connsiteX0" fmla="*/ 451174 w 1043720"/>
                  <a:gd name="connsiteY0" fmla="*/ 52186 h 546975"/>
                  <a:gd name="connsiteX1" fmla="*/ 382732 w 1043720"/>
                  <a:gd name="connsiteY1" fmla="*/ 105755 h 546975"/>
                  <a:gd name="connsiteX2" fmla="*/ 427612 w 1043720"/>
                  <a:gd name="connsiteY2" fmla="*/ 282587 h 546975"/>
                  <a:gd name="connsiteX3" fmla="*/ 410991 w 1043720"/>
                  <a:gd name="connsiteY3" fmla="*/ 311550 h 546975"/>
                  <a:gd name="connsiteX4" fmla="*/ 409660 w 1043720"/>
                  <a:gd name="connsiteY4" fmla="*/ 311864 h 546975"/>
                  <a:gd name="connsiteX5" fmla="*/ 403215 w 1043720"/>
                  <a:gd name="connsiteY5" fmla="*/ 311864 h 546975"/>
                  <a:gd name="connsiteX6" fmla="*/ 380306 w 1043720"/>
                  <a:gd name="connsiteY6" fmla="*/ 293912 h 546975"/>
                  <a:gd name="connsiteX7" fmla="*/ 343775 w 1043720"/>
                  <a:gd name="connsiteY7" fmla="*/ 144451 h 546975"/>
                  <a:gd name="connsiteX8" fmla="*/ 145469 w 1043720"/>
                  <a:gd name="connsiteY8" fmla="*/ 453496 h 546975"/>
                  <a:gd name="connsiteX9" fmla="*/ 145469 w 1043720"/>
                  <a:gd name="connsiteY9" fmla="*/ 495767 h 546975"/>
                  <a:gd name="connsiteX10" fmla="*/ 899765 w 1043720"/>
                  <a:gd name="connsiteY10" fmla="*/ 495767 h 546975"/>
                  <a:gd name="connsiteX11" fmla="*/ 899765 w 1043720"/>
                  <a:gd name="connsiteY11" fmla="*/ 453496 h 546975"/>
                  <a:gd name="connsiteX12" fmla="*/ 701458 w 1043720"/>
                  <a:gd name="connsiteY12" fmla="*/ 144451 h 546975"/>
                  <a:gd name="connsiteX13" fmla="*/ 663676 w 1043720"/>
                  <a:gd name="connsiteY13" fmla="*/ 293912 h 546975"/>
                  <a:gd name="connsiteX14" fmla="*/ 640766 w 1043720"/>
                  <a:gd name="connsiteY14" fmla="*/ 311864 h 546975"/>
                  <a:gd name="connsiteX15" fmla="*/ 634399 w 1043720"/>
                  <a:gd name="connsiteY15" fmla="*/ 311864 h 546975"/>
                  <a:gd name="connsiteX16" fmla="*/ 634156 w 1043720"/>
                  <a:gd name="connsiteY16" fmla="*/ 311814 h 546975"/>
                  <a:gd name="connsiteX17" fmla="*/ 616134 w 1043720"/>
                  <a:gd name="connsiteY17" fmla="*/ 283918 h 546975"/>
                  <a:gd name="connsiteX18" fmla="*/ 616447 w 1043720"/>
                  <a:gd name="connsiteY18" fmla="*/ 282587 h 546975"/>
                  <a:gd name="connsiteX19" fmla="*/ 661301 w 1043720"/>
                  <a:gd name="connsiteY19" fmla="*/ 105781 h 546975"/>
                  <a:gd name="connsiteX20" fmla="*/ 592833 w 1043720"/>
                  <a:gd name="connsiteY20" fmla="*/ 52186 h 546975"/>
                  <a:gd name="connsiteX21" fmla="*/ 451174 w 1043720"/>
                  <a:gd name="connsiteY21" fmla="*/ 0 h 546975"/>
                  <a:gd name="connsiteX22" fmla="*/ 593016 w 1043720"/>
                  <a:gd name="connsiteY22" fmla="*/ 0 h 546975"/>
                  <a:gd name="connsiteX23" fmla="*/ 711347 w 1043720"/>
                  <a:gd name="connsiteY23" fmla="*/ 90491 h 546975"/>
                  <a:gd name="connsiteX24" fmla="*/ 726220 w 1043720"/>
                  <a:gd name="connsiteY24" fmla="*/ 98475 h 546975"/>
                  <a:gd name="connsiteX25" fmla="*/ 951925 w 1043720"/>
                  <a:gd name="connsiteY25" fmla="*/ 450209 h 546975"/>
                  <a:gd name="connsiteX26" fmla="*/ 951925 w 1043720"/>
                  <a:gd name="connsiteY26" fmla="*/ 451852 h 546975"/>
                  <a:gd name="connsiteX27" fmla="*/ 951925 w 1043720"/>
                  <a:gd name="connsiteY27" fmla="*/ 495767 h 546975"/>
                  <a:gd name="connsiteX28" fmla="*/ 1017627 w 1043720"/>
                  <a:gd name="connsiteY28" fmla="*/ 495767 h 546975"/>
                  <a:gd name="connsiteX29" fmla="*/ 1043720 w 1043720"/>
                  <a:gd name="connsiteY29" fmla="*/ 521860 h 546975"/>
                  <a:gd name="connsiteX30" fmla="*/ 1036078 w 1043720"/>
                  <a:gd name="connsiteY30" fmla="*/ 540311 h 546975"/>
                  <a:gd name="connsiteX31" fmla="*/ 1019988 w 1043720"/>
                  <a:gd name="connsiteY31" fmla="*/ 546975 h 546975"/>
                  <a:gd name="connsiteX32" fmla="*/ 23732 w 1043720"/>
                  <a:gd name="connsiteY32" fmla="*/ 546975 h 546975"/>
                  <a:gd name="connsiteX33" fmla="*/ 7642 w 1043720"/>
                  <a:gd name="connsiteY33" fmla="*/ 540311 h 546975"/>
                  <a:gd name="connsiteX34" fmla="*/ 0 w 1043720"/>
                  <a:gd name="connsiteY34" fmla="*/ 521860 h 546975"/>
                  <a:gd name="connsiteX35" fmla="*/ 26093 w 1043720"/>
                  <a:gd name="connsiteY35" fmla="*/ 495767 h 546975"/>
                  <a:gd name="connsiteX36" fmla="*/ 93387 w 1043720"/>
                  <a:gd name="connsiteY36" fmla="*/ 495767 h 546975"/>
                  <a:gd name="connsiteX37" fmla="*/ 93387 w 1043720"/>
                  <a:gd name="connsiteY37" fmla="*/ 451931 h 546975"/>
                  <a:gd name="connsiteX38" fmla="*/ 93387 w 1043720"/>
                  <a:gd name="connsiteY38" fmla="*/ 450287 h 546975"/>
                  <a:gd name="connsiteX39" fmla="*/ 319091 w 1043720"/>
                  <a:gd name="connsiteY39" fmla="*/ 98553 h 546975"/>
                  <a:gd name="connsiteX40" fmla="*/ 332581 w 1043720"/>
                  <a:gd name="connsiteY40" fmla="*/ 91326 h 546975"/>
                  <a:gd name="connsiteX41" fmla="*/ 451174 w 1043720"/>
                  <a:gd name="connsiteY41" fmla="*/ 0 h 546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3720" h="546975">
                    <a:moveTo>
                      <a:pt x="451174" y="52186"/>
                    </a:moveTo>
                    <a:cubicBezTo>
                      <a:pt x="418798" y="52297"/>
                      <a:pt x="390617" y="74352"/>
                      <a:pt x="382732" y="105755"/>
                    </a:cubicBezTo>
                    <a:lnTo>
                      <a:pt x="427612" y="282587"/>
                    </a:lnTo>
                    <a:cubicBezTo>
                      <a:pt x="431004" y="295172"/>
                      <a:pt x="423568" y="308130"/>
                      <a:pt x="410991" y="311550"/>
                    </a:cubicBezTo>
                    <a:cubicBezTo>
                      <a:pt x="410552" y="311678"/>
                      <a:pt x="410109" y="311785"/>
                      <a:pt x="409660" y="311864"/>
                    </a:cubicBezTo>
                    <a:lnTo>
                      <a:pt x="403215" y="311864"/>
                    </a:lnTo>
                    <a:cubicBezTo>
                      <a:pt x="392345" y="311903"/>
                      <a:pt x="382865" y="304477"/>
                      <a:pt x="380306" y="293912"/>
                    </a:cubicBezTo>
                    <a:lnTo>
                      <a:pt x="343775" y="144451"/>
                    </a:lnTo>
                    <a:cubicBezTo>
                      <a:pt x="228679" y="206242"/>
                      <a:pt x="153683" y="323120"/>
                      <a:pt x="145469" y="453496"/>
                    </a:cubicBezTo>
                    <a:lnTo>
                      <a:pt x="145469" y="495767"/>
                    </a:lnTo>
                    <a:lnTo>
                      <a:pt x="899765" y="495767"/>
                    </a:lnTo>
                    <a:lnTo>
                      <a:pt x="899765" y="453496"/>
                    </a:lnTo>
                    <a:cubicBezTo>
                      <a:pt x="891551" y="323120"/>
                      <a:pt x="816554" y="206242"/>
                      <a:pt x="701458" y="144451"/>
                    </a:cubicBezTo>
                    <a:lnTo>
                      <a:pt x="663676" y="293912"/>
                    </a:lnTo>
                    <a:cubicBezTo>
                      <a:pt x="661116" y="304477"/>
                      <a:pt x="651636" y="311903"/>
                      <a:pt x="640766" y="311864"/>
                    </a:cubicBezTo>
                    <a:lnTo>
                      <a:pt x="634399" y="311864"/>
                    </a:lnTo>
                    <a:cubicBezTo>
                      <a:pt x="634318" y="311848"/>
                      <a:pt x="634237" y="311830"/>
                      <a:pt x="634156" y="311814"/>
                    </a:cubicBezTo>
                    <a:cubicBezTo>
                      <a:pt x="621478" y="309087"/>
                      <a:pt x="613407" y="296599"/>
                      <a:pt x="616134" y="283918"/>
                    </a:cubicBezTo>
                    <a:cubicBezTo>
                      <a:pt x="616212" y="283469"/>
                      <a:pt x="616319" y="283026"/>
                      <a:pt x="616447" y="282587"/>
                    </a:cubicBezTo>
                    <a:lnTo>
                      <a:pt x="661301" y="105781"/>
                    </a:lnTo>
                    <a:cubicBezTo>
                      <a:pt x="653416" y="74364"/>
                      <a:pt x="625225" y="52297"/>
                      <a:pt x="592833" y="52186"/>
                    </a:cubicBezTo>
                    <a:close/>
                    <a:moveTo>
                      <a:pt x="451174" y="0"/>
                    </a:moveTo>
                    <a:lnTo>
                      <a:pt x="593016" y="0"/>
                    </a:lnTo>
                    <a:cubicBezTo>
                      <a:pt x="648330" y="98"/>
                      <a:pt x="696761" y="37135"/>
                      <a:pt x="711347" y="90491"/>
                    </a:cubicBezTo>
                    <a:lnTo>
                      <a:pt x="726220" y="98475"/>
                    </a:lnTo>
                    <a:cubicBezTo>
                      <a:pt x="857570" y="168420"/>
                      <a:pt x="943072" y="301661"/>
                      <a:pt x="951925" y="450209"/>
                    </a:cubicBezTo>
                    <a:lnTo>
                      <a:pt x="951925" y="451852"/>
                    </a:lnTo>
                    <a:lnTo>
                      <a:pt x="951925" y="495767"/>
                    </a:lnTo>
                    <a:lnTo>
                      <a:pt x="1017627" y="495767"/>
                    </a:lnTo>
                    <a:cubicBezTo>
                      <a:pt x="1032038" y="495767"/>
                      <a:pt x="1043720" y="507449"/>
                      <a:pt x="1043720" y="521860"/>
                    </a:cubicBezTo>
                    <a:cubicBezTo>
                      <a:pt x="1043720" y="529066"/>
                      <a:pt x="1040800" y="535589"/>
                      <a:pt x="1036078" y="540311"/>
                    </a:cubicBezTo>
                    <a:lnTo>
                      <a:pt x="1019988" y="546975"/>
                    </a:lnTo>
                    <a:lnTo>
                      <a:pt x="23732" y="546975"/>
                    </a:lnTo>
                    <a:lnTo>
                      <a:pt x="7642" y="540311"/>
                    </a:lnTo>
                    <a:cubicBezTo>
                      <a:pt x="2921" y="535589"/>
                      <a:pt x="0" y="529066"/>
                      <a:pt x="0" y="521860"/>
                    </a:cubicBezTo>
                    <a:cubicBezTo>
                      <a:pt x="0" y="507449"/>
                      <a:pt x="11682" y="495767"/>
                      <a:pt x="26093" y="495767"/>
                    </a:cubicBezTo>
                    <a:lnTo>
                      <a:pt x="93387" y="495767"/>
                    </a:lnTo>
                    <a:lnTo>
                      <a:pt x="93387" y="451931"/>
                    </a:lnTo>
                    <a:lnTo>
                      <a:pt x="93387" y="450287"/>
                    </a:lnTo>
                    <a:cubicBezTo>
                      <a:pt x="102232" y="301737"/>
                      <a:pt x="187734" y="168490"/>
                      <a:pt x="319091" y="98553"/>
                    </a:cubicBezTo>
                    <a:lnTo>
                      <a:pt x="332581" y="91326"/>
                    </a:lnTo>
                    <a:cubicBezTo>
                      <a:pt x="346886" y="37550"/>
                      <a:pt x="395528" y="91"/>
                      <a:pt x="45117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259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EBCC2136-0E24-7722-F265-B9D0A4DA1D72}"/>
                </a:ext>
              </a:extLst>
            </p:cNvPr>
            <p:cNvGrpSpPr/>
            <p:nvPr/>
          </p:nvGrpSpPr>
          <p:grpSpPr>
            <a:xfrm>
              <a:off x="11242288" y="5315208"/>
              <a:ext cx="233046" cy="122131"/>
              <a:chOff x="9650969" y="2426134"/>
              <a:chExt cx="1043720" cy="546975"/>
            </a:xfrm>
          </p:grpSpPr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C143C57E-D9DC-A80D-0499-8CC823B2A473}"/>
                  </a:ext>
                </a:extLst>
              </p:cNvPr>
              <p:cNvSpPr/>
              <p:nvPr/>
            </p:nvSpPr>
            <p:spPr>
              <a:xfrm>
                <a:off x="9778563" y="2459698"/>
                <a:ext cx="792088" cy="470008"/>
              </a:xfrm>
              <a:custGeom>
                <a:avLst/>
                <a:gdLst>
                  <a:gd name="connsiteX0" fmla="*/ 385091 w 792088"/>
                  <a:gd name="connsiteY0" fmla="*/ 0 h 470008"/>
                  <a:gd name="connsiteX1" fmla="*/ 550964 w 792088"/>
                  <a:gd name="connsiteY1" fmla="*/ 62507 h 470008"/>
                  <a:gd name="connsiteX2" fmla="*/ 553975 w 792088"/>
                  <a:gd name="connsiteY2" fmla="*/ 70987 h 470008"/>
                  <a:gd name="connsiteX3" fmla="*/ 566515 w 792088"/>
                  <a:gd name="connsiteY3" fmla="*/ 72426 h 470008"/>
                  <a:gd name="connsiteX4" fmla="*/ 676463 w 792088"/>
                  <a:gd name="connsiteY4" fmla="*/ 166728 h 470008"/>
                  <a:gd name="connsiteX5" fmla="*/ 698346 w 792088"/>
                  <a:gd name="connsiteY5" fmla="*/ 166728 h 470008"/>
                  <a:gd name="connsiteX6" fmla="*/ 722213 w 792088"/>
                  <a:gd name="connsiteY6" fmla="*/ 190595 h 470008"/>
                  <a:gd name="connsiteX7" fmla="*/ 722213 w 792088"/>
                  <a:gd name="connsiteY7" fmla="*/ 242649 h 470008"/>
                  <a:gd name="connsiteX8" fmla="*/ 744181 w 792088"/>
                  <a:gd name="connsiteY8" fmla="*/ 242649 h 470008"/>
                  <a:gd name="connsiteX9" fmla="*/ 768048 w 792088"/>
                  <a:gd name="connsiteY9" fmla="*/ 266516 h 470008"/>
                  <a:gd name="connsiteX10" fmla="*/ 768048 w 792088"/>
                  <a:gd name="connsiteY10" fmla="*/ 326806 h 470008"/>
                  <a:gd name="connsiteX11" fmla="*/ 768221 w 792088"/>
                  <a:gd name="connsiteY11" fmla="*/ 326806 h 470008"/>
                  <a:gd name="connsiteX12" fmla="*/ 792088 w 792088"/>
                  <a:gd name="connsiteY12" fmla="*/ 350673 h 470008"/>
                  <a:gd name="connsiteX13" fmla="*/ 792088 w 792088"/>
                  <a:gd name="connsiteY13" fmla="*/ 446141 h 470008"/>
                  <a:gd name="connsiteX14" fmla="*/ 768221 w 792088"/>
                  <a:gd name="connsiteY14" fmla="*/ 470008 h 470008"/>
                  <a:gd name="connsiteX15" fmla="*/ 23867 w 792088"/>
                  <a:gd name="connsiteY15" fmla="*/ 470008 h 470008"/>
                  <a:gd name="connsiteX16" fmla="*/ 0 w 792088"/>
                  <a:gd name="connsiteY16" fmla="*/ 446141 h 470008"/>
                  <a:gd name="connsiteX17" fmla="*/ 0 w 792088"/>
                  <a:gd name="connsiteY17" fmla="*/ 350673 h 470008"/>
                  <a:gd name="connsiteX18" fmla="*/ 6991 w 792088"/>
                  <a:gd name="connsiteY18" fmla="*/ 333797 h 470008"/>
                  <a:gd name="connsiteX19" fmla="*/ 12048 w 792088"/>
                  <a:gd name="connsiteY19" fmla="*/ 331702 h 470008"/>
                  <a:gd name="connsiteX20" fmla="*/ 12048 w 792088"/>
                  <a:gd name="connsiteY20" fmla="*/ 266516 h 470008"/>
                  <a:gd name="connsiteX21" fmla="*/ 35915 w 792088"/>
                  <a:gd name="connsiteY21" fmla="*/ 242649 h 470008"/>
                  <a:gd name="connsiteX22" fmla="*/ 74140 w 792088"/>
                  <a:gd name="connsiteY22" fmla="*/ 242649 h 470008"/>
                  <a:gd name="connsiteX23" fmla="*/ 74140 w 792088"/>
                  <a:gd name="connsiteY23" fmla="*/ 190595 h 470008"/>
                  <a:gd name="connsiteX24" fmla="*/ 98007 w 792088"/>
                  <a:gd name="connsiteY24" fmla="*/ 166728 h 470008"/>
                  <a:gd name="connsiteX25" fmla="*/ 119626 w 792088"/>
                  <a:gd name="connsiteY25" fmla="*/ 166728 h 470008"/>
                  <a:gd name="connsiteX26" fmla="*/ 172353 w 792088"/>
                  <a:gd name="connsiteY26" fmla="*/ 94359 h 470008"/>
                  <a:gd name="connsiteX27" fmla="*/ 213509 w 792088"/>
                  <a:gd name="connsiteY27" fmla="*/ 78584 h 470008"/>
                  <a:gd name="connsiteX28" fmla="*/ 219218 w 792088"/>
                  <a:gd name="connsiteY28" fmla="*/ 62507 h 470008"/>
                  <a:gd name="connsiteX29" fmla="*/ 385091 w 792088"/>
                  <a:gd name="connsiteY29" fmla="*/ 0 h 470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792088" h="470008">
                    <a:moveTo>
                      <a:pt x="385091" y="0"/>
                    </a:moveTo>
                    <a:cubicBezTo>
                      <a:pt x="459658" y="0"/>
                      <a:pt x="523635" y="25774"/>
                      <a:pt x="550964" y="62507"/>
                    </a:cubicBezTo>
                    <a:lnTo>
                      <a:pt x="553975" y="70987"/>
                    </a:lnTo>
                    <a:lnTo>
                      <a:pt x="566515" y="72426"/>
                    </a:lnTo>
                    <a:cubicBezTo>
                      <a:pt x="631127" y="87963"/>
                      <a:pt x="676463" y="124335"/>
                      <a:pt x="676463" y="166728"/>
                    </a:cubicBezTo>
                    <a:lnTo>
                      <a:pt x="698346" y="166728"/>
                    </a:lnTo>
                    <a:cubicBezTo>
                      <a:pt x="711527" y="166728"/>
                      <a:pt x="722213" y="177414"/>
                      <a:pt x="722213" y="190595"/>
                    </a:cubicBezTo>
                    <a:lnTo>
                      <a:pt x="722213" y="242649"/>
                    </a:lnTo>
                    <a:lnTo>
                      <a:pt x="744181" y="242649"/>
                    </a:lnTo>
                    <a:cubicBezTo>
                      <a:pt x="757362" y="242649"/>
                      <a:pt x="768048" y="253335"/>
                      <a:pt x="768048" y="266516"/>
                    </a:cubicBezTo>
                    <a:lnTo>
                      <a:pt x="768048" y="326806"/>
                    </a:lnTo>
                    <a:lnTo>
                      <a:pt x="768221" y="326806"/>
                    </a:lnTo>
                    <a:cubicBezTo>
                      <a:pt x="781402" y="326806"/>
                      <a:pt x="792088" y="337492"/>
                      <a:pt x="792088" y="350673"/>
                    </a:cubicBezTo>
                    <a:lnTo>
                      <a:pt x="792088" y="446141"/>
                    </a:lnTo>
                    <a:cubicBezTo>
                      <a:pt x="792088" y="459322"/>
                      <a:pt x="781402" y="470008"/>
                      <a:pt x="768221" y="470008"/>
                    </a:cubicBezTo>
                    <a:lnTo>
                      <a:pt x="23867" y="470008"/>
                    </a:lnTo>
                    <a:cubicBezTo>
                      <a:pt x="10686" y="470008"/>
                      <a:pt x="0" y="459322"/>
                      <a:pt x="0" y="446141"/>
                    </a:cubicBezTo>
                    <a:lnTo>
                      <a:pt x="0" y="350673"/>
                    </a:lnTo>
                    <a:cubicBezTo>
                      <a:pt x="0" y="344083"/>
                      <a:pt x="2672" y="338116"/>
                      <a:pt x="6991" y="333797"/>
                    </a:cubicBezTo>
                    <a:lnTo>
                      <a:pt x="12048" y="331702"/>
                    </a:lnTo>
                    <a:lnTo>
                      <a:pt x="12048" y="266516"/>
                    </a:lnTo>
                    <a:cubicBezTo>
                      <a:pt x="12048" y="253335"/>
                      <a:pt x="22734" y="242649"/>
                      <a:pt x="35915" y="242649"/>
                    </a:cubicBezTo>
                    <a:lnTo>
                      <a:pt x="74140" y="242649"/>
                    </a:lnTo>
                    <a:lnTo>
                      <a:pt x="74140" y="190595"/>
                    </a:lnTo>
                    <a:cubicBezTo>
                      <a:pt x="74140" y="177414"/>
                      <a:pt x="84826" y="166728"/>
                      <a:pt x="98007" y="166728"/>
                    </a:cubicBezTo>
                    <a:lnTo>
                      <a:pt x="119626" y="166728"/>
                    </a:lnTo>
                    <a:cubicBezTo>
                      <a:pt x="119626" y="138466"/>
                      <a:pt x="139776" y="112880"/>
                      <a:pt x="172353" y="94359"/>
                    </a:cubicBezTo>
                    <a:lnTo>
                      <a:pt x="213509" y="78584"/>
                    </a:lnTo>
                    <a:lnTo>
                      <a:pt x="219218" y="62507"/>
                    </a:lnTo>
                    <a:cubicBezTo>
                      <a:pt x="246547" y="25774"/>
                      <a:pt x="310525" y="0"/>
                      <a:pt x="385091" y="0"/>
                    </a:cubicBezTo>
                    <a:close/>
                  </a:path>
                </a:pathLst>
              </a:custGeom>
              <a:solidFill>
                <a:srgbClr val="FFFF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53" name="Freihandform: Form 52" descr="Bauarbeiter Silhouette">
                <a:extLst>
                  <a:ext uri="{FF2B5EF4-FFF2-40B4-BE49-F238E27FC236}">
                    <a16:creationId xmlns:a16="http://schemas.microsoft.com/office/drawing/2014/main" id="{6A96FDD0-1B31-2FFF-B3CE-A9876E3E3FBA}"/>
                  </a:ext>
                </a:extLst>
              </p:cNvPr>
              <p:cNvSpPr/>
              <p:nvPr/>
            </p:nvSpPr>
            <p:spPr>
              <a:xfrm>
                <a:off x="9650969" y="2426134"/>
                <a:ext cx="1043720" cy="546975"/>
              </a:xfrm>
              <a:custGeom>
                <a:avLst/>
                <a:gdLst>
                  <a:gd name="connsiteX0" fmla="*/ 451174 w 1043720"/>
                  <a:gd name="connsiteY0" fmla="*/ 52186 h 546975"/>
                  <a:gd name="connsiteX1" fmla="*/ 382732 w 1043720"/>
                  <a:gd name="connsiteY1" fmla="*/ 105755 h 546975"/>
                  <a:gd name="connsiteX2" fmla="*/ 427612 w 1043720"/>
                  <a:gd name="connsiteY2" fmla="*/ 282587 h 546975"/>
                  <a:gd name="connsiteX3" fmla="*/ 410991 w 1043720"/>
                  <a:gd name="connsiteY3" fmla="*/ 311550 h 546975"/>
                  <a:gd name="connsiteX4" fmla="*/ 409660 w 1043720"/>
                  <a:gd name="connsiteY4" fmla="*/ 311864 h 546975"/>
                  <a:gd name="connsiteX5" fmla="*/ 403215 w 1043720"/>
                  <a:gd name="connsiteY5" fmla="*/ 311864 h 546975"/>
                  <a:gd name="connsiteX6" fmla="*/ 380306 w 1043720"/>
                  <a:gd name="connsiteY6" fmla="*/ 293912 h 546975"/>
                  <a:gd name="connsiteX7" fmla="*/ 343775 w 1043720"/>
                  <a:gd name="connsiteY7" fmla="*/ 144451 h 546975"/>
                  <a:gd name="connsiteX8" fmla="*/ 145469 w 1043720"/>
                  <a:gd name="connsiteY8" fmla="*/ 453496 h 546975"/>
                  <a:gd name="connsiteX9" fmla="*/ 145469 w 1043720"/>
                  <a:gd name="connsiteY9" fmla="*/ 495767 h 546975"/>
                  <a:gd name="connsiteX10" fmla="*/ 899765 w 1043720"/>
                  <a:gd name="connsiteY10" fmla="*/ 495767 h 546975"/>
                  <a:gd name="connsiteX11" fmla="*/ 899765 w 1043720"/>
                  <a:gd name="connsiteY11" fmla="*/ 453496 h 546975"/>
                  <a:gd name="connsiteX12" fmla="*/ 701458 w 1043720"/>
                  <a:gd name="connsiteY12" fmla="*/ 144451 h 546975"/>
                  <a:gd name="connsiteX13" fmla="*/ 663676 w 1043720"/>
                  <a:gd name="connsiteY13" fmla="*/ 293912 h 546975"/>
                  <a:gd name="connsiteX14" fmla="*/ 640766 w 1043720"/>
                  <a:gd name="connsiteY14" fmla="*/ 311864 h 546975"/>
                  <a:gd name="connsiteX15" fmla="*/ 634399 w 1043720"/>
                  <a:gd name="connsiteY15" fmla="*/ 311864 h 546975"/>
                  <a:gd name="connsiteX16" fmla="*/ 634156 w 1043720"/>
                  <a:gd name="connsiteY16" fmla="*/ 311814 h 546975"/>
                  <a:gd name="connsiteX17" fmla="*/ 616134 w 1043720"/>
                  <a:gd name="connsiteY17" fmla="*/ 283918 h 546975"/>
                  <a:gd name="connsiteX18" fmla="*/ 616447 w 1043720"/>
                  <a:gd name="connsiteY18" fmla="*/ 282587 h 546975"/>
                  <a:gd name="connsiteX19" fmla="*/ 661301 w 1043720"/>
                  <a:gd name="connsiteY19" fmla="*/ 105781 h 546975"/>
                  <a:gd name="connsiteX20" fmla="*/ 592833 w 1043720"/>
                  <a:gd name="connsiteY20" fmla="*/ 52186 h 546975"/>
                  <a:gd name="connsiteX21" fmla="*/ 451174 w 1043720"/>
                  <a:gd name="connsiteY21" fmla="*/ 0 h 546975"/>
                  <a:gd name="connsiteX22" fmla="*/ 593016 w 1043720"/>
                  <a:gd name="connsiteY22" fmla="*/ 0 h 546975"/>
                  <a:gd name="connsiteX23" fmla="*/ 711347 w 1043720"/>
                  <a:gd name="connsiteY23" fmla="*/ 90491 h 546975"/>
                  <a:gd name="connsiteX24" fmla="*/ 726220 w 1043720"/>
                  <a:gd name="connsiteY24" fmla="*/ 98475 h 546975"/>
                  <a:gd name="connsiteX25" fmla="*/ 951925 w 1043720"/>
                  <a:gd name="connsiteY25" fmla="*/ 450209 h 546975"/>
                  <a:gd name="connsiteX26" fmla="*/ 951925 w 1043720"/>
                  <a:gd name="connsiteY26" fmla="*/ 451852 h 546975"/>
                  <a:gd name="connsiteX27" fmla="*/ 951925 w 1043720"/>
                  <a:gd name="connsiteY27" fmla="*/ 495767 h 546975"/>
                  <a:gd name="connsiteX28" fmla="*/ 1017627 w 1043720"/>
                  <a:gd name="connsiteY28" fmla="*/ 495767 h 546975"/>
                  <a:gd name="connsiteX29" fmla="*/ 1043720 w 1043720"/>
                  <a:gd name="connsiteY29" fmla="*/ 521860 h 546975"/>
                  <a:gd name="connsiteX30" fmla="*/ 1036078 w 1043720"/>
                  <a:gd name="connsiteY30" fmla="*/ 540311 h 546975"/>
                  <a:gd name="connsiteX31" fmla="*/ 1019988 w 1043720"/>
                  <a:gd name="connsiteY31" fmla="*/ 546975 h 546975"/>
                  <a:gd name="connsiteX32" fmla="*/ 23732 w 1043720"/>
                  <a:gd name="connsiteY32" fmla="*/ 546975 h 546975"/>
                  <a:gd name="connsiteX33" fmla="*/ 7642 w 1043720"/>
                  <a:gd name="connsiteY33" fmla="*/ 540311 h 546975"/>
                  <a:gd name="connsiteX34" fmla="*/ 0 w 1043720"/>
                  <a:gd name="connsiteY34" fmla="*/ 521860 h 546975"/>
                  <a:gd name="connsiteX35" fmla="*/ 26093 w 1043720"/>
                  <a:gd name="connsiteY35" fmla="*/ 495767 h 546975"/>
                  <a:gd name="connsiteX36" fmla="*/ 93387 w 1043720"/>
                  <a:gd name="connsiteY36" fmla="*/ 495767 h 546975"/>
                  <a:gd name="connsiteX37" fmla="*/ 93387 w 1043720"/>
                  <a:gd name="connsiteY37" fmla="*/ 451931 h 546975"/>
                  <a:gd name="connsiteX38" fmla="*/ 93387 w 1043720"/>
                  <a:gd name="connsiteY38" fmla="*/ 450287 h 546975"/>
                  <a:gd name="connsiteX39" fmla="*/ 319091 w 1043720"/>
                  <a:gd name="connsiteY39" fmla="*/ 98553 h 546975"/>
                  <a:gd name="connsiteX40" fmla="*/ 332581 w 1043720"/>
                  <a:gd name="connsiteY40" fmla="*/ 91326 h 546975"/>
                  <a:gd name="connsiteX41" fmla="*/ 451174 w 1043720"/>
                  <a:gd name="connsiteY41" fmla="*/ 0 h 546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3720" h="546975">
                    <a:moveTo>
                      <a:pt x="451174" y="52186"/>
                    </a:moveTo>
                    <a:cubicBezTo>
                      <a:pt x="418798" y="52297"/>
                      <a:pt x="390617" y="74352"/>
                      <a:pt x="382732" y="105755"/>
                    </a:cubicBezTo>
                    <a:lnTo>
                      <a:pt x="427612" y="282587"/>
                    </a:lnTo>
                    <a:cubicBezTo>
                      <a:pt x="431004" y="295172"/>
                      <a:pt x="423568" y="308130"/>
                      <a:pt x="410991" y="311550"/>
                    </a:cubicBezTo>
                    <a:cubicBezTo>
                      <a:pt x="410552" y="311678"/>
                      <a:pt x="410109" y="311785"/>
                      <a:pt x="409660" y="311864"/>
                    </a:cubicBezTo>
                    <a:lnTo>
                      <a:pt x="403215" y="311864"/>
                    </a:lnTo>
                    <a:cubicBezTo>
                      <a:pt x="392345" y="311903"/>
                      <a:pt x="382865" y="304477"/>
                      <a:pt x="380306" y="293912"/>
                    </a:cubicBezTo>
                    <a:lnTo>
                      <a:pt x="343775" y="144451"/>
                    </a:lnTo>
                    <a:cubicBezTo>
                      <a:pt x="228679" y="206242"/>
                      <a:pt x="153683" y="323120"/>
                      <a:pt x="145469" y="453496"/>
                    </a:cubicBezTo>
                    <a:lnTo>
                      <a:pt x="145469" y="495767"/>
                    </a:lnTo>
                    <a:lnTo>
                      <a:pt x="899765" y="495767"/>
                    </a:lnTo>
                    <a:lnTo>
                      <a:pt x="899765" y="453496"/>
                    </a:lnTo>
                    <a:cubicBezTo>
                      <a:pt x="891551" y="323120"/>
                      <a:pt x="816554" y="206242"/>
                      <a:pt x="701458" y="144451"/>
                    </a:cubicBezTo>
                    <a:lnTo>
                      <a:pt x="663676" y="293912"/>
                    </a:lnTo>
                    <a:cubicBezTo>
                      <a:pt x="661116" y="304477"/>
                      <a:pt x="651636" y="311903"/>
                      <a:pt x="640766" y="311864"/>
                    </a:cubicBezTo>
                    <a:lnTo>
                      <a:pt x="634399" y="311864"/>
                    </a:lnTo>
                    <a:cubicBezTo>
                      <a:pt x="634318" y="311848"/>
                      <a:pt x="634237" y="311830"/>
                      <a:pt x="634156" y="311814"/>
                    </a:cubicBezTo>
                    <a:cubicBezTo>
                      <a:pt x="621478" y="309087"/>
                      <a:pt x="613407" y="296599"/>
                      <a:pt x="616134" y="283918"/>
                    </a:cubicBezTo>
                    <a:cubicBezTo>
                      <a:pt x="616212" y="283469"/>
                      <a:pt x="616319" y="283026"/>
                      <a:pt x="616447" y="282587"/>
                    </a:cubicBezTo>
                    <a:lnTo>
                      <a:pt x="661301" y="105781"/>
                    </a:lnTo>
                    <a:cubicBezTo>
                      <a:pt x="653416" y="74364"/>
                      <a:pt x="625225" y="52297"/>
                      <a:pt x="592833" y="52186"/>
                    </a:cubicBezTo>
                    <a:close/>
                    <a:moveTo>
                      <a:pt x="451174" y="0"/>
                    </a:moveTo>
                    <a:lnTo>
                      <a:pt x="593016" y="0"/>
                    </a:lnTo>
                    <a:cubicBezTo>
                      <a:pt x="648330" y="98"/>
                      <a:pt x="696761" y="37135"/>
                      <a:pt x="711347" y="90491"/>
                    </a:cubicBezTo>
                    <a:lnTo>
                      <a:pt x="726220" y="98475"/>
                    </a:lnTo>
                    <a:cubicBezTo>
                      <a:pt x="857570" y="168420"/>
                      <a:pt x="943072" y="301661"/>
                      <a:pt x="951925" y="450209"/>
                    </a:cubicBezTo>
                    <a:lnTo>
                      <a:pt x="951925" y="451852"/>
                    </a:lnTo>
                    <a:lnTo>
                      <a:pt x="951925" y="495767"/>
                    </a:lnTo>
                    <a:lnTo>
                      <a:pt x="1017627" y="495767"/>
                    </a:lnTo>
                    <a:cubicBezTo>
                      <a:pt x="1032038" y="495767"/>
                      <a:pt x="1043720" y="507449"/>
                      <a:pt x="1043720" y="521860"/>
                    </a:cubicBezTo>
                    <a:cubicBezTo>
                      <a:pt x="1043720" y="529066"/>
                      <a:pt x="1040800" y="535589"/>
                      <a:pt x="1036078" y="540311"/>
                    </a:cubicBezTo>
                    <a:lnTo>
                      <a:pt x="1019988" y="546975"/>
                    </a:lnTo>
                    <a:lnTo>
                      <a:pt x="23732" y="546975"/>
                    </a:lnTo>
                    <a:lnTo>
                      <a:pt x="7642" y="540311"/>
                    </a:lnTo>
                    <a:cubicBezTo>
                      <a:pt x="2921" y="535589"/>
                      <a:pt x="0" y="529066"/>
                      <a:pt x="0" y="521860"/>
                    </a:cubicBezTo>
                    <a:cubicBezTo>
                      <a:pt x="0" y="507449"/>
                      <a:pt x="11682" y="495767"/>
                      <a:pt x="26093" y="495767"/>
                    </a:cubicBezTo>
                    <a:lnTo>
                      <a:pt x="93387" y="495767"/>
                    </a:lnTo>
                    <a:lnTo>
                      <a:pt x="93387" y="451931"/>
                    </a:lnTo>
                    <a:lnTo>
                      <a:pt x="93387" y="450287"/>
                    </a:lnTo>
                    <a:cubicBezTo>
                      <a:pt x="102232" y="301737"/>
                      <a:pt x="187734" y="168490"/>
                      <a:pt x="319091" y="98553"/>
                    </a:cubicBezTo>
                    <a:lnTo>
                      <a:pt x="332581" y="91326"/>
                    </a:lnTo>
                    <a:cubicBezTo>
                      <a:pt x="346886" y="37550"/>
                      <a:pt x="395528" y="91"/>
                      <a:pt x="45117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259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24" name="Freihandform 76">
              <a:extLst>
                <a:ext uri="{FF2B5EF4-FFF2-40B4-BE49-F238E27FC236}">
                  <a16:creationId xmlns:a16="http://schemas.microsoft.com/office/drawing/2014/main" id="{95483701-0A6E-2DFC-8EA9-66F4D6400D87}"/>
                </a:ext>
              </a:extLst>
            </p:cNvPr>
            <p:cNvSpPr/>
            <p:nvPr/>
          </p:nvSpPr>
          <p:spPr>
            <a:xfrm>
              <a:off x="10932476" y="5284118"/>
              <a:ext cx="237761" cy="351127"/>
            </a:xfrm>
            <a:custGeom>
              <a:avLst/>
              <a:gdLst>
                <a:gd name="connsiteX0" fmla="*/ 362901 w 1080000"/>
                <a:gd name="connsiteY0" fmla="*/ 735472 h 1594954"/>
                <a:gd name="connsiteX1" fmla="*/ 363219 w 1080000"/>
                <a:gd name="connsiteY1" fmla="*/ 735472 h 1594954"/>
                <a:gd name="connsiteX2" fmla="*/ 399872 w 1080000"/>
                <a:gd name="connsiteY2" fmla="*/ 755367 h 1594954"/>
                <a:gd name="connsiteX3" fmla="*/ 540000 w 1080000"/>
                <a:gd name="connsiteY3" fmla="*/ 783657 h 1594954"/>
                <a:gd name="connsiteX4" fmla="*/ 680129 w 1080000"/>
                <a:gd name="connsiteY4" fmla="*/ 755367 h 1594954"/>
                <a:gd name="connsiteX5" fmla="*/ 716782 w 1080000"/>
                <a:gd name="connsiteY5" fmla="*/ 735472 h 1594954"/>
                <a:gd name="connsiteX6" fmla="*/ 717099 w 1080000"/>
                <a:gd name="connsiteY6" fmla="*/ 735472 h 1594954"/>
                <a:gd name="connsiteX7" fmla="*/ 1080000 w 1080000"/>
                <a:gd name="connsiteY7" fmla="*/ 936327 h 1594954"/>
                <a:gd name="connsiteX8" fmla="*/ 1080000 w 1080000"/>
                <a:gd name="connsiteY8" fmla="*/ 1396511 h 1594954"/>
                <a:gd name="connsiteX9" fmla="*/ 0 w 1080000"/>
                <a:gd name="connsiteY9" fmla="*/ 1396511 h 1594954"/>
                <a:gd name="connsiteX10" fmla="*/ 0 w 1080000"/>
                <a:gd name="connsiteY10" fmla="*/ 936327 h 1594954"/>
                <a:gd name="connsiteX11" fmla="*/ 362901 w 1080000"/>
                <a:gd name="connsiteY11" fmla="*/ 735472 h 1594954"/>
                <a:gd name="connsiteX12" fmla="*/ 540000 w 1080000"/>
                <a:gd name="connsiteY12" fmla="*/ 0 h 1594954"/>
                <a:gd name="connsiteX13" fmla="*/ 900000 w 1080000"/>
                <a:gd name="connsiteY13" fmla="*/ 360000 h 1594954"/>
                <a:gd name="connsiteX14" fmla="*/ 540000 w 1080000"/>
                <a:gd name="connsiteY14" fmla="*/ 720000 h 1594954"/>
                <a:gd name="connsiteX15" fmla="*/ 180000 w 1080000"/>
                <a:gd name="connsiteY15" fmla="*/ 360000 h 1594954"/>
                <a:gd name="connsiteX16" fmla="*/ 540000 w 1080000"/>
                <a:gd name="connsiteY16" fmla="*/ 0 h 159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80000" h="1594954">
                  <a:moveTo>
                    <a:pt x="362901" y="735472"/>
                  </a:moveTo>
                  <a:lnTo>
                    <a:pt x="363219" y="735472"/>
                  </a:lnTo>
                  <a:lnTo>
                    <a:pt x="399872" y="755367"/>
                  </a:lnTo>
                  <a:cubicBezTo>
                    <a:pt x="442942" y="773584"/>
                    <a:pt x="490295" y="783657"/>
                    <a:pt x="540000" y="783657"/>
                  </a:cubicBezTo>
                  <a:cubicBezTo>
                    <a:pt x="589706" y="783657"/>
                    <a:pt x="637059" y="773584"/>
                    <a:pt x="680129" y="755367"/>
                  </a:cubicBezTo>
                  <a:lnTo>
                    <a:pt x="716782" y="735472"/>
                  </a:lnTo>
                  <a:lnTo>
                    <a:pt x="717099" y="735472"/>
                  </a:lnTo>
                  <a:cubicBezTo>
                    <a:pt x="917524" y="735472"/>
                    <a:pt x="1080000" y="825398"/>
                    <a:pt x="1080000" y="936327"/>
                  </a:cubicBezTo>
                  <a:lnTo>
                    <a:pt x="1080000" y="1396511"/>
                  </a:lnTo>
                  <a:cubicBezTo>
                    <a:pt x="691917" y="1681653"/>
                    <a:pt x="253274" y="1639722"/>
                    <a:pt x="0" y="1396511"/>
                  </a:cubicBezTo>
                  <a:lnTo>
                    <a:pt x="0" y="936327"/>
                  </a:lnTo>
                  <a:cubicBezTo>
                    <a:pt x="0" y="825398"/>
                    <a:pt x="162477" y="735472"/>
                    <a:pt x="362901" y="735472"/>
                  </a:cubicBezTo>
                  <a:close/>
                  <a:moveTo>
                    <a:pt x="540000" y="0"/>
                  </a:moveTo>
                  <a:cubicBezTo>
                    <a:pt x="738823" y="0"/>
                    <a:pt x="900000" y="161177"/>
                    <a:pt x="900000" y="360000"/>
                  </a:cubicBezTo>
                  <a:cubicBezTo>
                    <a:pt x="900000" y="558823"/>
                    <a:pt x="738823" y="720000"/>
                    <a:pt x="540000" y="720000"/>
                  </a:cubicBezTo>
                  <a:cubicBezTo>
                    <a:pt x="341177" y="720000"/>
                    <a:pt x="180000" y="558823"/>
                    <a:pt x="180000" y="360000"/>
                  </a:cubicBezTo>
                  <a:cubicBezTo>
                    <a:pt x="180000" y="161177"/>
                    <a:pt x="341177" y="0"/>
                    <a:pt x="540000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rIns="144000" rtlCol="0" anchor="ctr">
              <a:noAutofit/>
            </a:bodyPr>
            <a:lstStyle/>
            <a:p>
              <a:pPr algn="ctr"/>
              <a:endParaRPr lang="de-DE" err="1">
                <a:solidFill>
                  <a:prstClr val="white"/>
                </a:solidFill>
              </a:endParaRPr>
            </a:p>
          </p:txBody>
        </p:sp>
        <p:sp>
          <p:nvSpPr>
            <p:cNvPr id="25" name="Freihandform 78">
              <a:extLst>
                <a:ext uri="{FF2B5EF4-FFF2-40B4-BE49-F238E27FC236}">
                  <a16:creationId xmlns:a16="http://schemas.microsoft.com/office/drawing/2014/main" id="{385E22B6-947C-475A-DA38-E65964292CC5}"/>
                </a:ext>
              </a:extLst>
            </p:cNvPr>
            <p:cNvSpPr/>
            <p:nvPr/>
          </p:nvSpPr>
          <p:spPr>
            <a:xfrm>
              <a:off x="10569334" y="5194539"/>
              <a:ext cx="337719" cy="498747"/>
            </a:xfrm>
            <a:custGeom>
              <a:avLst/>
              <a:gdLst>
                <a:gd name="connsiteX0" fmla="*/ 362901 w 1080000"/>
                <a:gd name="connsiteY0" fmla="*/ 735472 h 1594954"/>
                <a:gd name="connsiteX1" fmla="*/ 363219 w 1080000"/>
                <a:gd name="connsiteY1" fmla="*/ 735472 h 1594954"/>
                <a:gd name="connsiteX2" fmla="*/ 399872 w 1080000"/>
                <a:gd name="connsiteY2" fmla="*/ 755367 h 1594954"/>
                <a:gd name="connsiteX3" fmla="*/ 540000 w 1080000"/>
                <a:gd name="connsiteY3" fmla="*/ 783657 h 1594954"/>
                <a:gd name="connsiteX4" fmla="*/ 680129 w 1080000"/>
                <a:gd name="connsiteY4" fmla="*/ 755367 h 1594954"/>
                <a:gd name="connsiteX5" fmla="*/ 716782 w 1080000"/>
                <a:gd name="connsiteY5" fmla="*/ 735472 h 1594954"/>
                <a:gd name="connsiteX6" fmla="*/ 717099 w 1080000"/>
                <a:gd name="connsiteY6" fmla="*/ 735472 h 1594954"/>
                <a:gd name="connsiteX7" fmla="*/ 1080000 w 1080000"/>
                <a:gd name="connsiteY7" fmla="*/ 936327 h 1594954"/>
                <a:gd name="connsiteX8" fmla="*/ 1080000 w 1080000"/>
                <a:gd name="connsiteY8" fmla="*/ 1396511 h 1594954"/>
                <a:gd name="connsiteX9" fmla="*/ 0 w 1080000"/>
                <a:gd name="connsiteY9" fmla="*/ 1396511 h 1594954"/>
                <a:gd name="connsiteX10" fmla="*/ 0 w 1080000"/>
                <a:gd name="connsiteY10" fmla="*/ 936327 h 1594954"/>
                <a:gd name="connsiteX11" fmla="*/ 362901 w 1080000"/>
                <a:gd name="connsiteY11" fmla="*/ 735472 h 1594954"/>
                <a:gd name="connsiteX12" fmla="*/ 540000 w 1080000"/>
                <a:gd name="connsiteY12" fmla="*/ 0 h 1594954"/>
                <a:gd name="connsiteX13" fmla="*/ 900000 w 1080000"/>
                <a:gd name="connsiteY13" fmla="*/ 360000 h 1594954"/>
                <a:gd name="connsiteX14" fmla="*/ 540000 w 1080000"/>
                <a:gd name="connsiteY14" fmla="*/ 720000 h 1594954"/>
                <a:gd name="connsiteX15" fmla="*/ 180000 w 1080000"/>
                <a:gd name="connsiteY15" fmla="*/ 360000 h 1594954"/>
                <a:gd name="connsiteX16" fmla="*/ 540000 w 1080000"/>
                <a:gd name="connsiteY16" fmla="*/ 0 h 159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80000" h="1594954">
                  <a:moveTo>
                    <a:pt x="362901" y="735472"/>
                  </a:moveTo>
                  <a:lnTo>
                    <a:pt x="363219" y="735472"/>
                  </a:lnTo>
                  <a:lnTo>
                    <a:pt x="399872" y="755367"/>
                  </a:lnTo>
                  <a:cubicBezTo>
                    <a:pt x="442942" y="773584"/>
                    <a:pt x="490295" y="783657"/>
                    <a:pt x="540000" y="783657"/>
                  </a:cubicBezTo>
                  <a:cubicBezTo>
                    <a:pt x="589706" y="783657"/>
                    <a:pt x="637059" y="773584"/>
                    <a:pt x="680129" y="755367"/>
                  </a:cubicBezTo>
                  <a:lnTo>
                    <a:pt x="716782" y="735472"/>
                  </a:lnTo>
                  <a:lnTo>
                    <a:pt x="717099" y="735472"/>
                  </a:lnTo>
                  <a:cubicBezTo>
                    <a:pt x="917524" y="735472"/>
                    <a:pt x="1080000" y="825398"/>
                    <a:pt x="1080000" y="936327"/>
                  </a:cubicBezTo>
                  <a:lnTo>
                    <a:pt x="1080000" y="1396511"/>
                  </a:lnTo>
                  <a:cubicBezTo>
                    <a:pt x="691917" y="1681653"/>
                    <a:pt x="253274" y="1639722"/>
                    <a:pt x="0" y="1396511"/>
                  </a:cubicBezTo>
                  <a:lnTo>
                    <a:pt x="0" y="936327"/>
                  </a:lnTo>
                  <a:cubicBezTo>
                    <a:pt x="0" y="825398"/>
                    <a:pt x="162477" y="735472"/>
                    <a:pt x="362901" y="735472"/>
                  </a:cubicBezTo>
                  <a:close/>
                  <a:moveTo>
                    <a:pt x="540000" y="0"/>
                  </a:moveTo>
                  <a:cubicBezTo>
                    <a:pt x="738823" y="0"/>
                    <a:pt x="900000" y="161177"/>
                    <a:pt x="900000" y="360000"/>
                  </a:cubicBezTo>
                  <a:cubicBezTo>
                    <a:pt x="900000" y="558823"/>
                    <a:pt x="738823" y="720000"/>
                    <a:pt x="540000" y="720000"/>
                  </a:cubicBezTo>
                  <a:cubicBezTo>
                    <a:pt x="341177" y="720000"/>
                    <a:pt x="180000" y="558823"/>
                    <a:pt x="180000" y="360000"/>
                  </a:cubicBezTo>
                  <a:cubicBezTo>
                    <a:pt x="180000" y="161177"/>
                    <a:pt x="341177" y="0"/>
                    <a:pt x="540000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rIns="144000" rtlCol="0" anchor="ctr">
              <a:noAutofit/>
            </a:bodyPr>
            <a:lstStyle/>
            <a:p>
              <a:pPr algn="ctr"/>
              <a:endParaRPr lang="de-DE" err="1">
                <a:solidFill>
                  <a:prstClr val="white"/>
                </a:solidFill>
              </a:endParaRPr>
            </a:p>
          </p:txBody>
        </p:sp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5CEA95FB-7E95-4C74-408A-880F6C22B11B}"/>
                </a:ext>
              </a:extLst>
            </p:cNvPr>
            <p:cNvGrpSpPr/>
            <p:nvPr/>
          </p:nvGrpSpPr>
          <p:grpSpPr>
            <a:xfrm>
              <a:off x="10578855" y="5140596"/>
              <a:ext cx="316554" cy="165894"/>
              <a:chOff x="8472264" y="2426134"/>
              <a:chExt cx="1043720" cy="546975"/>
            </a:xfrm>
          </p:grpSpPr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54FC2681-14ED-B83C-9A5A-3604BA51F37B}"/>
                  </a:ext>
                </a:extLst>
              </p:cNvPr>
              <p:cNvSpPr/>
              <p:nvPr/>
            </p:nvSpPr>
            <p:spPr>
              <a:xfrm>
                <a:off x="8599858" y="2459698"/>
                <a:ext cx="792088" cy="470008"/>
              </a:xfrm>
              <a:custGeom>
                <a:avLst/>
                <a:gdLst>
                  <a:gd name="connsiteX0" fmla="*/ 385091 w 792088"/>
                  <a:gd name="connsiteY0" fmla="*/ 0 h 470008"/>
                  <a:gd name="connsiteX1" fmla="*/ 550964 w 792088"/>
                  <a:gd name="connsiteY1" fmla="*/ 62507 h 470008"/>
                  <a:gd name="connsiteX2" fmla="*/ 553975 w 792088"/>
                  <a:gd name="connsiteY2" fmla="*/ 70987 h 470008"/>
                  <a:gd name="connsiteX3" fmla="*/ 566515 w 792088"/>
                  <a:gd name="connsiteY3" fmla="*/ 72426 h 470008"/>
                  <a:gd name="connsiteX4" fmla="*/ 676463 w 792088"/>
                  <a:gd name="connsiteY4" fmla="*/ 166728 h 470008"/>
                  <a:gd name="connsiteX5" fmla="*/ 698346 w 792088"/>
                  <a:gd name="connsiteY5" fmla="*/ 166728 h 470008"/>
                  <a:gd name="connsiteX6" fmla="*/ 722213 w 792088"/>
                  <a:gd name="connsiteY6" fmla="*/ 190595 h 470008"/>
                  <a:gd name="connsiteX7" fmla="*/ 722213 w 792088"/>
                  <a:gd name="connsiteY7" fmla="*/ 242649 h 470008"/>
                  <a:gd name="connsiteX8" fmla="*/ 744181 w 792088"/>
                  <a:gd name="connsiteY8" fmla="*/ 242649 h 470008"/>
                  <a:gd name="connsiteX9" fmla="*/ 768048 w 792088"/>
                  <a:gd name="connsiteY9" fmla="*/ 266516 h 470008"/>
                  <a:gd name="connsiteX10" fmla="*/ 768048 w 792088"/>
                  <a:gd name="connsiteY10" fmla="*/ 326806 h 470008"/>
                  <a:gd name="connsiteX11" fmla="*/ 768221 w 792088"/>
                  <a:gd name="connsiteY11" fmla="*/ 326806 h 470008"/>
                  <a:gd name="connsiteX12" fmla="*/ 792088 w 792088"/>
                  <a:gd name="connsiteY12" fmla="*/ 350673 h 470008"/>
                  <a:gd name="connsiteX13" fmla="*/ 792088 w 792088"/>
                  <a:gd name="connsiteY13" fmla="*/ 446141 h 470008"/>
                  <a:gd name="connsiteX14" fmla="*/ 768221 w 792088"/>
                  <a:gd name="connsiteY14" fmla="*/ 470008 h 470008"/>
                  <a:gd name="connsiteX15" fmla="*/ 23867 w 792088"/>
                  <a:gd name="connsiteY15" fmla="*/ 470008 h 470008"/>
                  <a:gd name="connsiteX16" fmla="*/ 0 w 792088"/>
                  <a:gd name="connsiteY16" fmla="*/ 446141 h 470008"/>
                  <a:gd name="connsiteX17" fmla="*/ 0 w 792088"/>
                  <a:gd name="connsiteY17" fmla="*/ 350673 h 470008"/>
                  <a:gd name="connsiteX18" fmla="*/ 6991 w 792088"/>
                  <a:gd name="connsiteY18" fmla="*/ 333797 h 470008"/>
                  <a:gd name="connsiteX19" fmla="*/ 12048 w 792088"/>
                  <a:gd name="connsiteY19" fmla="*/ 331702 h 470008"/>
                  <a:gd name="connsiteX20" fmla="*/ 12048 w 792088"/>
                  <a:gd name="connsiteY20" fmla="*/ 266516 h 470008"/>
                  <a:gd name="connsiteX21" fmla="*/ 35915 w 792088"/>
                  <a:gd name="connsiteY21" fmla="*/ 242649 h 470008"/>
                  <a:gd name="connsiteX22" fmla="*/ 74140 w 792088"/>
                  <a:gd name="connsiteY22" fmla="*/ 242649 h 470008"/>
                  <a:gd name="connsiteX23" fmla="*/ 74140 w 792088"/>
                  <a:gd name="connsiteY23" fmla="*/ 190595 h 470008"/>
                  <a:gd name="connsiteX24" fmla="*/ 98007 w 792088"/>
                  <a:gd name="connsiteY24" fmla="*/ 166728 h 470008"/>
                  <a:gd name="connsiteX25" fmla="*/ 119626 w 792088"/>
                  <a:gd name="connsiteY25" fmla="*/ 166728 h 470008"/>
                  <a:gd name="connsiteX26" fmla="*/ 172353 w 792088"/>
                  <a:gd name="connsiteY26" fmla="*/ 94359 h 470008"/>
                  <a:gd name="connsiteX27" fmla="*/ 213509 w 792088"/>
                  <a:gd name="connsiteY27" fmla="*/ 78584 h 470008"/>
                  <a:gd name="connsiteX28" fmla="*/ 219218 w 792088"/>
                  <a:gd name="connsiteY28" fmla="*/ 62507 h 470008"/>
                  <a:gd name="connsiteX29" fmla="*/ 385091 w 792088"/>
                  <a:gd name="connsiteY29" fmla="*/ 0 h 470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792088" h="470008">
                    <a:moveTo>
                      <a:pt x="385091" y="0"/>
                    </a:moveTo>
                    <a:cubicBezTo>
                      <a:pt x="459658" y="0"/>
                      <a:pt x="523635" y="25774"/>
                      <a:pt x="550964" y="62507"/>
                    </a:cubicBezTo>
                    <a:lnTo>
                      <a:pt x="553975" y="70987"/>
                    </a:lnTo>
                    <a:lnTo>
                      <a:pt x="566515" y="72426"/>
                    </a:lnTo>
                    <a:cubicBezTo>
                      <a:pt x="631127" y="87963"/>
                      <a:pt x="676463" y="124335"/>
                      <a:pt x="676463" y="166728"/>
                    </a:cubicBezTo>
                    <a:lnTo>
                      <a:pt x="698346" y="166728"/>
                    </a:lnTo>
                    <a:cubicBezTo>
                      <a:pt x="711527" y="166728"/>
                      <a:pt x="722213" y="177414"/>
                      <a:pt x="722213" y="190595"/>
                    </a:cubicBezTo>
                    <a:lnTo>
                      <a:pt x="722213" y="242649"/>
                    </a:lnTo>
                    <a:lnTo>
                      <a:pt x="744181" y="242649"/>
                    </a:lnTo>
                    <a:cubicBezTo>
                      <a:pt x="757362" y="242649"/>
                      <a:pt x="768048" y="253335"/>
                      <a:pt x="768048" y="266516"/>
                    </a:cubicBezTo>
                    <a:lnTo>
                      <a:pt x="768048" y="326806"/>
                    </a:lnTo>
                    <a:lnTo>
                      <a:pt x="768221" y="326806"/>
                    </a:lnTo>
                    <a:cubicBezTo>
                      <a:pt x="781402" y="326806"/>
                      <a:pt x="792088" y="337492"/>
                      <a:pt x="792088" y="350673"/>
                    </a:cubicBezTo>
                    <a:lnTo>
                      <a:pt x="792088" y="446141"/>
                    </a:lnTo>
                    <a:cubicBezTo>
                      <a:pt x="792088" y="459322"/>
                      <a:pt x="781402" y="470008"/>
                      <a:pt x="768221" y="470008"/>
                    </a:cubicBezTo>
                    <a:lnTo>
                      <a:pt x="23867" y="470008"/>
                    </a:lnTo>
                    <a:cubicBezTo>
                      <a:pt x="10686" y="470008"/>
                      <a:pt x="0" y="459322"/>
                      <a:pt x="0" y="446141"/>
                    </a:cubicBezTo>
                    <a:lnTo>
                      <a:pt x="0" y="350673"/>
                    </a:lnTo>
                    <a:cubicBezTo>
                      <a:pt x="0" y="344083"/>
                      <a:pt x="2672" y="338116"/>
                      <a:pt x="6991" y="333797"/>
                    </a:cubicBezTo>
                    <a:lnTo>
                      <a:pt x="12048" y="331702"/>
                    </a:lnTo>
                    <a:lnTo>
                      <a:pt x="12048" y="266516"/>
                    </a:lnTo>
                    <a:cubicBezTo>
                      <a:pt x="12048" y="253335"/>
                      <a:pt x="22734" y="242649"/>
                      <a:pt x="35915" y="242649"/>
                    </a:cubicBezTo>
                    <a:lnTo>
                      <a:pt x="74140" y="242649"/>
                    </a:lnTo>
                    <a:lnTo>
                      <a:pt x="74140" y="190595"/>
                    </a:lnTo>
                    <a:cubicBezTo>
                      <a:pt x="74140" y="177414"/>
                      <a:pt x="84826" y="166728"/>
                      <a:pt x="98007" y="166728"/>
                    </a:cubicBezTo>
                    <a:lnTo>
                      <a:pt x="119626" y="166728"/>
                    </a:lnTo>
                    <a:cubicBezTo>
                      <a:pt x="119626" y="138466"/>
                      <a:pt x="139776" y="112880"/>
                      <a:pt x="172353" y="94359"/>
                    </a:cubicBezTo>
                    <a:lnTo>
                      <a:pt x="213509" y="78584"/>
                    </a:lnTo>
                    <a:lnTo>
                      <a:pt x="219218" y="62507"/>
                    </a:lnTo>
                    <a:cubicBezTo>
                      <a:pt x="246547" y="25774"/>
                      <a:pt x="310525" y="0"/>
                      <a:pt x="385091" y="0"/>
                    </a:cubicBezTo>
                    <a:close/>
                  </a:path>
                </a:pathLst>
              </a:cu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51" name="Freihandform: Form 50" descr="Bauarbeiter Silhouette">
                <a:extLst>
                  <a:ext uri="{FF2B5EF4-FFF2-40B4-BE49-F238E27FC236}">
                    <a16:creationId xmlns:a16="http://schemas.microsoft.com/office/drawing/2014/main" id="{E03E577D-952E-D093-09DE-9B3E0B2BCD82}"/>
                  </a:ext>
                </a:extLst>
              </p:cNvPr>
              <p:cNvSpPr/>
              <p:nvPr/>
            </p:nvSpPr>
            <p:spPr>
              <a:xfrm>
                <a:off x="8472264" y="2426134"/>
                <a:ext cx="1043720" cy="546975"/>
              </a:xfrm>
              <a:custGeom>
                <a:avLst/>
                <a:gdLst>
                  <a:gd name="connsiteX0" fmla="*/ 451174 w 1043720"/>
                  <a:gd name="connsiteY0" fmla="*/ 52186 h 546975"/>
                  <a:gd name="connsiteX1" fmla="*/ 382732 w 1043720"/>
                  <a:gd name="connsiteY1" fmla="*/ 105755 h 546975"/>
                  <a:gd name="connsiteX2" fmla="*/ 427612 w 1043720"/>
                  <a:gd name="connsiteY2" fmla="*/ 282587 h 546975"/>
                  <a:gd name="connsiteX3" fmla="*/ 410991 w 1043720"/>
                  <a:gd name="connsiteY3" fmla="*/ 311550 h 546975"/>
                  <a:gd name="connsiteX4" fmla="*/ 409660 w 1043720"/>
                  <a:gd name="connsiteY4" fmla="*/ 311864 h 546975"/>
                  <a:gd name="connsiteX5" fmla="*/ 403215 w 1043720"/>
                  <a:gd name="connsiteY5" fmla="*/ 311864 h 546975"/>
                  <a:gd name="connsiteX6" fmla="*/ 380306 w 1043720"/>
                  <a:gd name="connsiteY6" fmla="*/ 293912 h 546975"/>
                  <a:gd name="connsiteX7" fmla="*/ 343775 w 1043720"/>
                  <a:gd name="connsiteY7" fmla="*/ 144451 h 546975"/>
                  <a:gd name="connsiteX8" fmla="*/ 145469 w 1043720"/>
                  <a:gd name="connsiteY8" fmla="*/ 453496 h 546975"/>
                  <a:gd name="connsiteX9" fmla="*/ 145469 w 1043720"/>
                  <a:gd name="connsiteY9" fmla="*/ 495767 h 546975"/>
                  <a:gd name="connsiteX10" fmla="*/ 899765 w 1043720"/>
                  <a:gd name="connsiteY10" fmla="*/ 495767 h 546975"/>
                  <a:gd name="connsiteX11" fmla="*/ 899765 w 1043720"/>
                  <a:gd name="connsiteY11" fmla="*/ 453496 h 546975"/>
                  <a:gd name="connsiteX12" fmla="*/ 701458 w 1043720"/>
                  <a:gd name="connsiteY12" fmla="*/ 144451 h 546975"/>
                  <a:gd name="connsiteX13" fmla="*/ 663676 w 1043720"/>
                  <a:gd name="connsiteY13" fmla="*/ 293912 h 546975"/>
                  <a:gd name="connsiteX14" fmla="*/ 640766 w 1043720"/>
                  <a:gd name="connsiteY14" fmla="*/ 311864 h 546975"/>
                  <a:gd name="connsiteX15" fmla="*/ 634399 w 1043720"/>
                  <a:gd name="connsiteY15" fmla="*/ 311864 h 546975"/>
                  <a:gd name="connsiteX16" fmla="*/ 634156 w 1043720"/>
                  <a:gd name="connsiteY16" fmla="*/ 311814 h 546975"/>
                  <a:gd name="connsiteX17" fmla="*/ 616134 w 1043720"/>
                  <a:gd name="connsiteY17" fmla="*/ 283918 h 546975"/>
                  <a:gd name="connsiteX18" fmla="*/ 616447 w 1043720"/>
                  <a:gd name="connsiteY18" fmla="*/ 282587 h 546975"/>
                  <a:gd name="connsiteX19" fmla="*/ 661301 w 1043720"/>
                  <a:gd name="connsiteY19" fmla="*/ 105781 h 546975"/>
                  <a:gd name="connsiteX20" fmla="*/ 592833 w 1043720"/>
                  <a:gd name="connsiteY20" fmla="*/ 52186 h 546975"/>
                  <a:gd name="connsiteX21" fmla="*/ 451174 w 1043720"/>
                  <a:gd name="connsiteY21" fmla="*/ 0 h 546975"/>
                  <a:gd name="connsiteX22" fmla="*/ 593016 w 1043720"/>
                  <a:gd name="connsiteY22" fmla="*/ 0 h 546975"/>
                  <a:gd name="connsiteX23" fmla="*/ 711347 w 1043720"/>
                  <a:gd name="connsiteY23" fmla="*/ 90491 h 546975"/>
                  <a:gd name="connsiteX24" fmla="*/ 726220 w 1043720"/>
                  <a:gd name="connsiteY24" fmla="*/ 98475 h 546975"/>
                  <a:gd name="connsiteX25" fmla="*/ 951925 w 1043720"/>
                  <a:gd name="connsiteY25" fmla="*/ 450209 h 546975"/>
                  <a:gd name="connsiteX26" fmla="*/ 951925 w 1043720"/>
                  <a:gd name="connsiteY26" fmla="*/ 451852 h 546975"/>
                  <a:gd name="connsiteX27" fmla="*/ 951925 w 1043720"/>
                  <a:gd name="connsiteY27" fmla="*/ 495767 h 546975"/>
                  <a:gd name="connsiteX28" fmla="*/ 1017627 w 1043720"/>
                  <a:gd name="connsiteY28" fmla="*/ 495767 h 546975"/>
                  <a:gd name="connsiteX29" fmla="*/ 1043720 w 1043720"/>
                  <a:gd name="connsiteY29" fmla="*/ 521860 h 546975"/>
                  <a:gd name="connsiteX30" fmla="*/ 1036078 w 1043720"/>
                  <a:gd name="connsiteY30" fmla="*/ 540311 h 546975"/>
                  <a:gd name="connsiteX31" fmla="*/ 1019988 w 1043720"/>
                  <a:gd name="connsiteY31" fmla="*/ 546975 h 546975"/>
                  <a:gd name="connsiteX32" fmla="*/ 23732 w 1043720"/>
                  <a:gd name="connsiteY32" fmla="*/ 546975 h 546975"/>
                  <a:gd name="connsiteX33" fmla="*/ 7642 w 1043720"/>
                  <a:gd name="connsiteY33" fmla="*/ 540311 h 546975"/>
                  <a:gd name="connsiteX34" fmla="*/ 0 w 1043720"/>
                  <a:gd name="connsiteY34" fmla="*/ 521860 h 546975"/>
                  <a:gd name="connsiteX35" fmla="*/ 26093 w 1043720"/>
                  <a:gd name="connsiteY35" fmla="*/ 495767 h 546975"/>
                  <a:gd name="connsiteX36" fmla="*/ 93387 w 1043720"/>
                  <a:gd name="connsiteY36" fmla="*/ 495767 h 546975"/>
                  <a:gd name="connsiteX37" fmla="*/ 93387 w 1043720"/>
                  <a:gd name="connsiteY37" fmla="*/ 451931 h 546975"/>
                  <a:gd name="connsiteX38" fmla="*/ 93387 w 1043720"/>
                  <a:gd name="connsiteY38" fmla="*/ 450287 h 546975"/>
                  <a:gd name="connsiteX39" fmla="*/ 319091 w 1043720"/>
                  <a:gd name="connsiteY39" fmla="*/ 98553 h 546975"/>
                  <a:gd name="connsiteX40" fmla="*/ 332581 w 1043720"/>
                  <a:gd name="connsiteY40" fmla="*/ 91326 h 546975"/>
                  <a:gd name="connsiteX41" fmla="*/ 451174 w 1043720"/>
                  <a:gd name="connsiteY41" fmla="*/ 0 h 546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3720" h="546975">
                    <a:moveTo>
                      <a:pt x="451174" y="52186"/>
                    </a:moveTo>
                    <a:cubicBezTo>
                      <a:pt x="418798" y="52297"/>
                      <a:pt x="390617" y="74352"/>
                      <a:pt x="382732" y="105755"/>
                    </a:cubicBezTo>
                    <a:lnTo>
                      <a:pt x="427612" y="282587"/>
                    </a:lnTo>
                    <a:cubicBezTo>
                      <a:pt x="431004" y="295172"/>
                      <a:pt x="423568" y="308130"/>
                      <a:pt x="410991" y="311550"/>
                    </a:cubicBezTo>
                    <a:cubicBezTo>
                      <a:pt x="410552" y="311678"/>
                      <a:pt x="410109" y="311785"/>
                      <a:pt x="409660" y="311864"/>
                    </a:cubicBezTo>
                    <a:lnTo>
                      <a:pt x="403215" y="311864"/>
                    </a:lnTo>
                    <a:cubicBezTo>
                      <a:pt x="392345" y="311903"/>
                      <a:pt x="382865" y="304477"/>
                      <a:pt x="380306" y="293912"/>
                    </a:cubicBezTo>
                    <a:lnTo>
                      <a:pt x="343775" y="144451"/>
                    </a:lnTo>
                    <a:cubicBezTo>
                      <a:pt x="228679" y="206242"/>
                      <a:pt x="153683" y="323120"/>
                      <a:pt x="145469" y="453496"/>
                    </a:cubicBezTo>
                    <a:lnTo>
                      <a:pt x="145469" y="495767"/>
                    </a:lnTo>
                    <a:lnTo>
                      <a:pt x="899765" y="495767"/>
                    </a:lnTo>
                    <a:lnTo>
                      <a:pt x="899765" y="453496"/>
                    </a:lnTo>
                    <a:cubicBezTo>
                      <a:pt x="891551" y="323120"/>
                      <a:pt x="816554" y="206242"/>
                      <a:pt x="701458" y="144451"/>
                    </a:cubicBezTo>
                    <a:lnTo>
                      <a:pt x="663676" y="293912"/>
                    </a:lnTo>
                    <a:cubicBezTo>
                      <a:pt x="661116" y="304477"/>
                      <a:pt x="651636" y="311903"/>
                      <a:pt x="640766" y="311864"/>
                    </a:cubicBezTo>
                    <a:lnTo>
                      <a:pt x="634399" y="311864"/>
                    </a:lnTo>
                    <a:cubicBezTo>
                      <a:pt x="634318" y="311848"/>
                      <a:pt x="634237" y="311830"/>
                      <a:pt x="634156" y="311814"/>
                    </a:cubicBezTo>
                    <a:cubicBezTo>
                      <a:pt x="621478" y="309087"/>
                      <a:pt x="613407" y="296599"/>
                      <a:pt x="616134" y="283918"/>
                    </a:cubicBezTo>
                    <a:cubicBezTo>
                      <a:pt x="616212" y="283469"/>
                      <a:pt x="616319" y="283026"/>
                      <a:pt x="616447" y="282587"/>
                    </a:cubicBezTo>
                    <a:lnTo>
                      <a:pt x="661301" y="105781"/>
                    </a:lnTo>
                    <a:cubicBezTo>
                      <a:pt x="653416" y="74364"/>
                      <a:pt x="625225" y="52297"/>
                      <a:pt x="592833" y="52186"/>
                    </a:cubicBezTo>
                    <a:close/>
                    <a:moveTo>
                      <a:pt x="451174" y="0"/>
                    </a:moveTo>
                    <a:lnTo>
                      <a:pt x="593016" y="0"/>
                    </a:lnTo>
                    <a:cubicBezTo>
                      <a:pt x="648330" y="98"/>
                      <a:pt x="696761" y="37135"/>
                      <a:pt x="711347" y="90491"/>
                    </a:cubicBezTo>
                    <a:lnTo>
                      <a:pt x="726220" y="98475"/>
                    </a:lnTo>
                    <a:cubicBezTo>
                      <a:pt x="857570" y="168420"/>
                      <a:pt x="943072" y="301661"/>
                      <a:pt x="951925" y="450209"/>
                    </a:cubicBezTo>
                    <a:lnTo>
                      <a:pt x="951925" y="451852"/>
                    </a:lnTo>
                    <a:lnTo>
                      <a:pt x="951925" y="495767"/>
                    </a:lnTo>
                    <a:lnTo>
                      <a:pt x="1017627" y="495767"/>
                    </a:lnTo>
                    <a:cubicBezTo>
                      <a:pt x="1032038" y="495767"/>
                      <a:pt x="1043720" y="507449"/>
                      <a:pt x="1043720" y="521860"/>
                    </a:cubicBezTo>
                    <a:cubicBezTo>
                      <a:pt x="1043720" y="529066"/>
                      <a:pt x="1040800" y="535589"/>
                      <a:pt x="1036078" y="540311"/>
                    </a:cubicBezTo>
                    <a:lnTo>
                      <a:pt x="1019988" y="546975"/>
                    </a:lnTo>
                    <a:lnTo>
                      <a:pt x="23732" y="546975"/>
                    </a:lnTo>
                    <a:lnTo>
                      <a:pt x="7642" y="540311"/>
                    </a:lnTo>
                    <a:cubicBezTo>
                      <a:pt x="2921" y="535589"/>
                      <a:pt x="0" y="529066"/>
                      <a:pt x="0" y="521860"/>
                    </a:cubicBezTo>
                    <a:cubicBezTo>
                      <a:pt x="0" y="507449"/>
                      <a:pt x="11682" y="495767"/>
                      <a:pt x="26093" y="495767"/>
                    </a:cubicBezTo>
                    <a:lnTo>
                      <a:pt x="93387" y="495767"/>
                    </a:lnTo>
                    <a:lnTo>
                      <a:pt x="93387" y="451931"/>
                    </a:lnTo>
                    <a:lnTo>
                      <a:pt x="93387" y="450287"/>
                    </a:lnTo>
                    <a:cubicBezTo>
                      <a:pt x="102232" y="301737"/>
                      <a:pt x="187734" y="168490"/>
                      <a:pt x="319091" y="98553"/>
                    </a:cubicBezTo>
                    <a:lnTo>
                      <a:pt x="332581" y="91326"/>
                    </a:lnTo>
                    <a:cubicBezTo>
                      <a:pt x="346886" y="37550"/>
                      <a:pt x="395528" y="91"/>
                      <a:pt x="45117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259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A907A350-A09E-3F30-C912-D8BD4EF04CF3}"/>
                </a:ext>
              </a:extLst>
            </p:cNvPr>
            <p:cNvGrpSpPr/>
            <p:nvPr/>
          </p:nvGrpSpPr>
          <p:grpSpPr>
            <a:xfrm>
              <a:off x="10935599" y="5232261"/>
              <a:ext cx="233046" cy="122131"/>
              <a:chOff x="9650969" y="2426134"/>
              <a:chExt cx="1043720" cy="546975"/>
            </a:xfrm>
          </p:grpSpPr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D404E0CB-78BF-0E3F-B29A-2BA907BCBA73}"/>
                  </a:ext>
                </a:extLst>
              </p:cNvPr>
              <p:cNvSpPr/>
              <p:nvPr/>
            </p:nvSpPr>
            <p:spPr>
              <a:xfrm>
                <a:off x="9778563" y="2459698"/>
                <a:ext cx="792088" cy="470008"/>
              </a:xfrm>
              <a:custGeom>
                <a:avLst/>
                <a:gdLst>
                  <a:gd name="connsiteX0" fmla="*/ 385091 w 792088"/>
                  <a:gd name="connsiteY0" fmla="*/ 0 h 470008"/>
                  <a:gd name="connsiteX1" fmla="*/ 550964 w 792088"/>
                  <a:gd name="connsiteY1" fmla="*/ 62507 h 470008"/>
                  <a:gd name="connsiteX2" fmla="*/ 553975 w 792088"/>
                  <a:gd name="connsiteY2" fmla="*/ 70987 h 470008"/>
                  <a:gd name="connsiteX3" fmla="*/ 566515 w 792088"/>
                  <a:gd name="connsiteY3" fmla="*/ 72426 h 470008"/>
                  <a:gd name="connsiteX4" fmla="*/ 676463 w 792088"/>
                  <a:gd name="connsiteY4" fmla="*/ 166728 h 470008"/>
                  <a:gd name="connsiteX5" fmla="*/ 698346 w 792088"/>
                  <a:gd name="connsiteY5" fmla="*/ 166728 h 470008"/>
                  <a:gd name="connsiteX6" fmla="*/ 722213 w 792088"/>
                  <a:gd name="connsiteY6" fmla="*/ 190595 h 470008"/>
                  <a:gd name="connsiteX7" fmla="*/ 722213 w 792088"/>
                  <a:gd name="connsiteY7" fmla="*/ 242649 h 470008"/>
                  <a:gd name="connsiteX8" fmla="*/ 744181 w 792088"/>
                  <a:gd name="connsiteY8" fmla="*/ 242649 h 470008"/>
                  <a:gd name="connsiteX9" fmla="*/ 768048 w 792088"/>
                  <a:gd name="connsiteY9" fmla="*/ 266516 h 470008"/>
                  <a:gd name="connsiteX10" fmla="*/ 768048 w 792088"/>
                  <a:gd name="connsiteY10" fmla="*/ 326806 h 470008"/>
                  <a:gd name="connsiteX11" fmla="*/ 768221 w 792088"/>
                  <a:gd name="connsiteY11" fmla="*/ 326806 h 470008"/>
                  <a:gd name="connsiteX12" fmla="*/ 792088 w 792088"/>
                  <a:gd name="connsiteY12" fmla="*/ 350673 h 470008"/>
                  <a:gd name="connsiteX13" fmla="*/ 792088 w 792088"/>
                  <a:gd name="connsiteY13" fmla="*/ 446141 h 470008"/>
                  <a:gd name="connsiteX14" fmla="*/ 768221 w 792088"/>
                  <a:gd name="connsiteY14" fmla="*/ 470008 h 470008"/>
                  <a:gd name="connsiteX15" fmla="*/ 23867 w 792088"/>
                  <a:gd name="connsiteY15" fmla="*/ 470008 h 470008"/>
                  <a:gd name="connsiteX16" fmla="*/ 0 w 792088"/>
                  <a:gd name="connsiteY16" fmla="*/ 446141 h 470008"/>
                  <a:gd name="connsiteX17" fmla="*/ 0 w 792088"/>
                  <a:gd name="connsiteY17" fmla="*/ 350673 h 470008"/>
                  <a:gd name="connsiteX18" fmla="*/ 6991 w 792088"/>
                  <a:gd name="connsiteY18" fmla="*/ 333797 h 470008"/>
                  <a:gd name="connsiteX19" fmla="*/ 12048 w 792088"/>
                  <a:gd name="connsiteY19" fmla="*/ 331702 h 470008"/>
                  <a:gd name="connsiteX20" fmla="*/ 12048 w 792088"/>
                  <a:gd name="connsiteY20" fmla="*/ 266516 h 470008"/>
                  <a:gd name="connsiteX21" fmla="*/ 35915 w 792088"/>
                  <a:gd name="connsiteY21" fmla="*/ 242649 h 470008"/>
                  <a:gd name="connsiteX22" fmla="*/ 74140 w 792088"/>
                  <a:gd name="connsiteY22" fmla="*/ 242649 h 470008"/>
                  <a:gd name="connsiteX23" fmla="*/ 74140 w 792088"/>
                  <a:gd name="connsiteY23" fmla="*/ 190595 h 470008"/>
                  <a:gd name="connsiteX24" fmla="*/ 98007 w 792088"/>
                  <a:gd name="connsiteY24" fmla="*/ 166728 h 470008"/>
                  <a:gd name="connsiteX25" fmla="*/ 119626 w 792088"/>
                  <a:gd name="connsiteY25" fmla="*/ 166728 h 470008"/>
                  <a:gd name="connsiteX26" fmla="*/ 172353 w 792088"/>
                  <a:gd name="connsiteY26" fmla="*/ 94359 h 470008"/>
                  <a:gd name="connsiteX27" fmla="*/ 213509 w 792088"/>
                  <a:gd name="connsiteY27" fmla="*/ 78584 h 470008"/>
                  <a:gd name="connsiteX28" fmla="*/ 219218 w 792088"/>
                  <a:gd name="connsiteY28" fmla="*/ 62507 h 470008"/>
                  <a:gd name="connsiteX29" fmla="*/ 385091 w 792088"/>
                  <a:gd name="connsiteY29" fmla="*/ 0 h 470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792088" h="470008">
                    <a:moveTo>
                      <a:pt x="385091" y="0"/>
                    </a:moveTo>
                    <a:cubicBezTo>
                      <a:pt x="459658" y="0"/>
                      <a:pt x="523635" y="25774"/>
                      <a:pt x="550964" y="62507"/>
                    </a:cubicBezTo>
                    <a:lnTo>
                      <a:pt x="553975" y="70987"/>
                    </a:lnTo>
                    <a:lnTo>
                      <a:pt x="566515" y="72426"/>
                    </a:lnTo>
                    <a:cubicBezTo>
                      <a:pt x="631127" y="87963"/>
                      <a:pt x="676463" y="124335"/>
                      <a:pt x="676463" y="166728"/>
                    </a:cubicBezTo>
                    <a:lnTo>
                      <a:pt x="698346" y="166728"/>
                    </a:lnTo>
                    <a:cubicBezTo>
                      <a:pt x="711527" y="166728"/>
                      <a:pt x="722213" y="177414"/>
                      <a:pt x="722213" y="190595"/>
                    </a:cubicBezTo>
                    <a:lnTo>
                      <a:pt x="722213" y="242649"/>
                    </a:lnTo>
                    <a:lnTo>
                      <a:pt x="744181" y="242649"/>
                    </a:lnTo>
                    <a:cubicBezTo>
                      <a:pt x="757362" y="242649"/>
                      <a:pt x="768048" y="253335"/>
                      <a:pt x="768048" y="266516"/>
                    </a:cubicBezTo>
                    <a:lnTo>
                      <a:pt x="768048" y="326806"/>
                    </a:lnTo>
                    <a:lnTo>
                      <a:pt x="768221" y="326806"/>
                    </a:lnTo>
                    <a:cubicBezTo>
                      <a:pt x="781402" y="326806"/>
                      <a:pt x="792088" y="337492"/>
                      <a:pt x="792088" y="350673"/>
                    </a:cubicBezTo>
                    <a:lnTo>
                      <a:pt x="792088" y="446141"/>
                    </a:lnTo>
                    <a:cubicBezTo>
                      <a:pt x="792088" y="459322"/>
                      <a:pt x="781402" y="470008"/>
                      <a:pt x="768221" y="470008"/>
                    </a:cubicBezTo>
                    <a:lnTo>
                      <a:pt x="23867" y="470008"/>
                    </a:lnTo>
                    <a:cubicBezTo>
                      <a:pt x="10686" y="470008"/>
                      <a:pt x="0" y="459322"/>
                      <a:pt x="0" y="446141"/>
                    </a:cubicBezTo>
                    <a:lnTo>
                      <a:pt x="0" y="350673"/>
                    </a:lnTo>
                    <a:cubicBezTo>
                      <a:pt x="0" y="344083"/>
                      <a:pt x="2672" y="338116"/>
                      <a:pt x="6991" y="333797"/>
                    </a:cubicBezTo>
                    <a:lnTo>
                      <a:pt x="12048" y="331702"/>
                    </a:lnTo>
                    <a:lnTo>
                      <a:pt x="12048" y="266516"/>
                    </a:lnTo>
                    <a:cubicBezTo>
                      <a:pt x="12048" y="253335"/>
                      <a:pt x="22734" y="242649"/>
                      <a:pt x="35915" y="242649"/>
                    </a:cubicBezTo>
                    <a:lnTo>
                      <a:pt x="74140" y="242649"/>
                    </a:lnTo>
                    <a:lnTo>
                      <a:pt x="74140" y="190595"/>
                    </a:lnTo>
                    <a:cubicBezTo>
                      <a:pt x="74140" y="177414"/>
                      <a:pt x="84826" y="166728"/>
                      <a:pt x="98007" y="166728"/>
                    </a:cubicBezTo>
                    <a:lnTo>
                      <a:pt x="119626" y="166728"/>
                    </a:lnTo>
                    <a:cubicBezTo>
                      <a:pt x="119626" y="138466"/>
                      <a:pt x="139776" y="112880"/>
                      <a:pt x="172353" y="94359"/>
                    </a:cubicBezTo>
                    <a:lnTo>
                      <a:pt x="213509" y="78584"/>
                    </a:lnTo>
                    <a:lnTo>
                      <a:pt x="219218" y="62507"/>
                    </a:lnTo>
                    <a:cubicBezTo>
                      <a:pt x="246547" y="25774"/>
                      <a:pt x="310525" y="0"/>
                      <a:pt x="385091" y="0"/>
                    </a:cubicBezTo>
                    <a:close/>
                  </a:path>
                </a:pathLst>
              </a:custGeom>
              <a:solidFill>
                <a:srgbClr val="FFFF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49" name="Freihandform: Form 48" descr="Bauarbeiter Silhouette">
                <a:extLst>
                  <a:ext uri="{FF2B5EF4-FFF2-40B4-BE49-F238E27FC236}">
                    <a16:creationId xmlns:a16="http://schemas.microsoft.com/office/drawing/2014/main" id="{C093D175-D428-9A6C-A91E-C0262E8DD6AB}"/>
                  </a:ext>
                </a:extLst>
              </p:cNvPr>
              <p:cNvSpPr/>
              <p:nvPr/>
            </p:nvSpPr>
            <p:spPr>
              <a:xfrm>
                <a:off x="9650969" y="2426134"/>
                <a:ext cx="1043720" cy="546975"/>
              </a:xfrm>
              <a:custGeom>
                <a:avLst/>
                <a:gdLst>
                  <a:gd name="connsiteX0" fmla="*/ 451174 w 1043720"/>
                  <a:gd name="connsiteY0" fmla="*/ 52186 h 546975"/>
                  <a:gd name="connsiteX1" fmla="*/ 382732 w 1043720"/>
                  <a:gd name="connsiteY1" fmla="*/ 105755 h 546975"/>
                  <a:gd name="connsiteX2" fmla="*/ 427612 w 1043720"/>
                  <a:gd name="connsiteY2" fmla="*/ 282587 h 546975"/>
                  <a:gd name="connsiteX3" fmla="*/ 410991 w 1043720"/>
                  <a:gd name="connsiteY3" fmla="*/ 311550 h 546975"/>
                  <a:gd name="connsiteX4" fmla="*/ 409660 w 1043720"/>
                  <a:gd name="connsiteY4" fmla="*/ 311864 h 546975"/>
                  <a:gd name="connsiteX5" fmla="*/ 403215 w 1043720"/>
                  <a:gd name="connsiteY5" fmla="*/ 311864 h 546975"/>
                  <a:gd name="connsiteX6" fmla="*/ 380306 w 1043720"/>
                  <a:gd name="connsiteY6" fmla="*/ 293912 h 546975"/>
                  <a:gd name="connsiteX7" fmla="*/ 343775 w 1043720"/>
                  <a:gd name="connsiteY7" fmla="*/ 144451 h 546975"/>
                  <a:gd name="connsiteX8" fmla="*/ 145469 w 1043720"/>
                  <a:gd name="connsiteY8" fmla="*/ 453496 h 546975"/>
                  <a:gd name="connsiteX9" fmla="*/ 145469 w 1043720"/>
                  <a:gd name="connsiteY9" fmla="*/ 495767 h 546975"/>
                  <a:gd name="connsiteX10" fmla="*/ 899765 w 1043720"/>
                  <a:gd name="connsiteY10" fmla="*/ 495767 h 546975"/>
                  <a:gd name="connsiteX11" fmla="*/ 899765 w 1043720"/>
                  <a:gd name="connsiteY11" fmla="*/ 453496 h 546975"/>
                  <a:gd name="connsiteX12" fmla="*/ 701458 w 1043720"/>
                  <a:gd name="connsiteY12" fmla="*/ 144451 h 546975"/>
                  <a:gd name="connsiteX13" fmla="*/ 663676 w 1043720"/>
                  <a:gd name="connsiteY13" fmla="*/ 293912 h 546975"/>
                  <a:gd name="connsiteX14" fmla="*/ 640766 w 1043720"/>
                  <a:gd name="connsiteY14" fmla="*/ 311864 h 546975"/>
                  <a:gd name="connsiteX15" fmla="*/ 634399 w 1043720"/>
                  <a:gd name="connsiteY15" fmla="*/ 311864 h 546975"/>
                  <a:gd name="connsiteX16" fmla="*/ 634156 w 1043720"/>
                  <a:gd name="connsiteY16" fmla="*/ 311814 h 546975"/>
                  <a:gd name="connsiteX17" fmla="*/ 616134 w 1043720"/>
                  <a:gd name="connsiteY17" fmla="*/ 283918 h 546975"/>
                  <a:gd name="connsiteX18" fmla="*/ 616447 w 1043720"/>
                  <a:gd name="connsiteY18" fmla="*/ 282587 h 546975"/>
                  <a:gd name="connsiteX19" fmla="*/ 661301 w 1043720"/>
                  <a:gd name="connsiteY19" fmla="*/ 105781 h 546975"/>
                  <a:gd name="connsiteX20" fmla="*/ 592833 w 1043720"/>
                  <a:gd name="connsiteY20" fmla="*/ 52186 h 546975"/>
                  <a:gd name="connsiteX21" fmla="*/ 451174 w 1043720"/>
                  <a:gd name="connsiteY21" fmla="*/ 0 h 546975"/>
                  <a:gd name="connsiteX22" fmla="*/ 593016 w 1043720"/>
                  <a:gd name="connsiteY22" fmla="*/ 0 h 546975"/>
                  <a:gd name="connsiteX23" fmla="*/ 711347 w 1043720"/>
                  <a:gd name="connsiteY23" fmla="*/ 90491 h 546975"/>
                  <a:gd name="connsiteX24" fmla="*/ 726220 w 1043720"/>
                  <a:gd name="connsiteY24" fmla="*/ 98475 h 546975"/>
                  <a:gd name="connsiteX25" fmla="*/ 951925 w 1043720"/>
                  <a:gd name="connsiteY25" fmla="*/ 450209 h 546975"/>
                  <a:gd name="connsiteX26" fmla="*/ 951925 w 1043720"/>
                  <a:gd name="connsiteY26" fmla="*/ 451852 h 546975"/>
                  <a:gd name="connsiteX27" fmla="*/ 951925 w 1043720"/>
                  <a:gd name="connsiteY27" fmla="*/ 495767 h 546975"/>
                  <a:gd name="connsiteX28" fmla="*/ 1017627 w 1043720"/>
                  <a:gd name="connsiteY28" fmla="*/ 495767 h 546975"/>
                  <a:gd name="connsiteX29" fmla="*/ 1043720 w 1043720"/>
                  <a:gd name="connsiteY29" fmla="*/ 521860 h 546975"/>
                  <a:gd name="connsiteX30" fmla="*/ 1036078 w 1043720"/>
                  <a:gd name="connsiteY30" fmla="*/ 540311 h 546975"/>
                  <a:gd name="connsiteX31" fmla="*/ 1019988 w 1043720"/>
                  <a:gd name="connsiteY31" fmla="*/ 546975 h 546975"/>
                  <a:gd name="connsiteX32" fmla="*/ 23732 w 1043720"/>
                  <a:gd name="connsiteY32" fmla="*/ 546975 h 546975"/>
                  <a:gd name="connsiteX33" fmla="*/ 7642 w 1043720"/>
                  <a:gd name="connsiteY33" fmla="*/ 540311 h 546975"/>
                  <a:gd name="connsiteX34" fmla="*/ 0 w 1043720"/>
                  <a:gd name="connsiteY34" fmla="*/ 521860 h 546975"/>
                  <a:gd name="connsiteX35" fmla="*/ 26093 w 1043720"/>
                  <a:gd name="connsiteY35" fmla="*/ 495767 h 546975"/>
                  <a:gd name="connsiteX36" fmla="*/ 93387 w 1043720"/>
                  <a:gd name="connsiteY36" fmla="*/ 495767 h 546975"/>
                  <a:gd name="connsiteX37" fmla="*/ 93387 w 1043720"/>
                  <a:gd name="connsiteY37" fmla="*/ 451931 h 546975"/>
                  <a:gd name="connsiteX38" fmla="*/ 93387 w 1043720"/>
                  <a:gd name="connsiteY38" fmla="*/ 450287 h 546975"/>
                  <a:gd name="connsiteX39" fmla="*/ 319091 w 1043720"/>
                  <a:gd name="connsiteY39" fmla="*/ 98553 h 546975"/>
                  <a:gd name="connsiteX40" fmla="*/ 332581 w 1043720"/>
                  <a:gd name="connsiteY40" fmla="*/ 91326 h 546975"/>
                  <a:gd name="connsiteX41" fmla="*/ 451174 w 1043720"/>
                  <a:gd name="connsiteY41" fmla="*/ 0 h 546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3720" h="546975">
                    <a:moveTo>
                      <a:pt x="451174" y="52186"/>
                    </a:moveTo>
                    <a:cubicBezTo>
                      <a:pt x="418798" y="52297"/>
                      <a:pt x="390617" y="74352"/>
                      <a:pt x="382732" y="105755"/>
                    </a:cubicBezTo>
                    <a:lnTo>
                      <a:pt x="427612" y="282587"/>
                    </a:lnTo>
                    <a:cubicBezTo>
                      <a:pt x="431004" y="295172"/>
                      <a:pt x="423568" y="308130"/>
                      <a:pt x="410991" y="311550"/>
                    </a:cubicBezTo>
                    <a:cubicBezTo>
                      <a:pt x="410552" y="311678"/>
                      <a:pt x="410109" y="311785"/>
                      <a:pt x="409660" y="311864"/>
                    </a:cubicBezTo>
                    <a:lnTo>
                      <a:pt x="403215" y="311864"/>
                    </a:lnTo>
                    <a:cubicBezTo>
                      <a:pt x="392345" y="311903"/>
                      <a:pt x="382865" y="304477"/>
                      <a:pt x="380306" y="293912"/>
                    </a:cubicBezTo>
                    <a:lnTo>
                      <a:pt x="343775" y="144451"/>
                    </a:lnTo>
                    <a:cubicBezTo>
                      <a:pt x="228679" y="206242"/>
                      <a:pt x="153683" y="323120"/>
                      <a:pt x="145469" y="453496"/>
                    </a:cubicBezTo>
                    <a:lnTo>
                      <a:pt x="145469" y="495767"/>
                    </a:lnTo>
                    <a:lnTo>
                      <a:pt x="899765" y="495767"/>
                    </a:lnTo>
                    <a:lnTo>
                      <a:pt x="899765" y="453496"/>
                    </a:lnTo>
                    <a:cubicBezTo>
                      <a:pt x="891551" y="323120"/>
                      <a:pt x="816554" y="206242"/>
                      <a:pt x="701458" y="144451"/>
                    </a:cubicBezTo>
                    <a:lnTo>
                      <a:pt x="663676" y="293912"/>
                    </a:lnTo>
                    <a:cubicBezTo>
                      <a:pt x="661116" y="304477"/>
                      <a:pt x="651636" y="311903"/>
                      <a:pt x="640766" y="311864"/>
                    </a:cubicBezTo>
                    <a:lnTo>
                      <a:pt x="634399" y="311864"/>
                    </a:lnTo>
                    <a:cubicBezTo>
                      <a:pt x="634318" y="311848"/>
                      <a:pt x="634237" y="311830"/>
                      <a:pt x="634156" y="311814"/>
                    </a:cubicBezTo>
                    <a:cubicBezTo>
                      <a:pt x="621478" y="309087"/>
                      <a:pt x="613407" y="296599"/>
                      <a:pt x="616134" y="283918"/>
                    </a:cubicBezTo>
                    <a:cubicBezTo>
                      <a:pt x="616212" y="283469"/>
                      <a:pt x="616319" y="283026"/>
                      <a:pt x="616447" y="282587"/>
                    </a:cubicBezTo>
                    <a:lnTo>
                      <a:pt x="661301" y="105781"/>
                    </a:lnTo>
                    <a:cubicBezTo>
                      <a:pt x="653416" y="74364"/>
                      <a:pt x="625225" y="52297"/>
                      <a:pt x="592833" y="52186"/>
                    </a:cubicBezTo>
                    <a:close/>
                    <a:moveTo>
                      <a:pt x="451174" y="0"/>
                    </a:moveTo>
                    <a:lnTo>
                      <a:pt x="593016" y="0"/>
                    </a:lnTo>
                    <a:cubicBezTo>
                      <a:pt x="648330" y="98"/>
                      <a:pt x="696761" y="37135"/>
                      <a:pt x="711347" y="90491"/>
                    </a:cubicBezTo>
                    <a:lnTo>
                      <a:pt x="726220" y="98475"/>
                    </a:lnTo>
                    <a:cubicBezTo>
                      <a:pt x="857570" y="168420"/>
                      <a:pt x="943072" y="301661"/>
                      <a:pt x="951925" y="450209"/>
                    </a:cubicBezTo>
                    <a:lnTo>
                      <a:pt x="951925" y="451852"/>
                    </a:lnTo>
                    <a:lnTo>
                      <a:pt x="951925" y="495767"/>
                    </a:lnTo>
                    <a:lnTo>
                      <a:pt x="1017627" y="495767"/>
                    </a:lnTo>
                    <a:cubicBezTo>
                      <a:pt x="1032038" y="495767"/>
                      <a:pt x="1043720" y="507449"/>
                      <a:pt x="1043720" y="521860"/>
                    </a:cubicBezTo>
                    <a:cubicBezTo>
                      <a:pt x="1043720" y="529066"/>
                      <a:pt x="1040800" y="535589"/>
                      <a:pt x="1036078" y="540311"/>
                    </a:cubicBezTo>
                    <a:lnTo>
                      <a:pt x="1019988" y="546975"/>
                    </a:lnTo>
                    <a:lnTo>
                      <a:pt x="23732" y="546975"/>
                    </a:lnTo>
                    <a:lnTo>
                      <a:pt x="7642" y="540311"/>
                    </a:lnTo>
                    <a:cubicBezTo>
                      <a:pt x="2921" y="535589"/>
                      <a:pt x="0" y="529066"/>
                      <a:pt x="0" y="521860"/>
                    </a:cubicBezTo>
                    <a:cubicBezTo>
                      <a:pt x="0" y="507449"/>
                      <a:pt x="11682" y="495767"/>
                      <a:pt x="26093" y="495767"/>
                    </a:cubicBezTo>
                    <a:lnTo>
                      <a:pt x="93387" y="495767"/>
                    </a:lnTo>
                    <a:lnTo>
                      <a:pt x="93387" y="451931"/>
                    </a:lnTo>
                    <a:lnTo>
                      <a:pt x="93387" y="450287"/>
                    </a:lnTo>
                    <a:cubicBezTo>
                      <a:pt x="102232" y="301737"/>
                      <a:pt x="187734" y="168490"/>
                      <a:pt x="319091" y="98553"/>
                    </a:cubicBezTo>
                    <a:lnTo>
                      <a:pt x="332581" y="91326"/>
                    </a:lnTo>
                    <a:cubicBezTo>
                      <a:pt x="346886" y="37550"/>
                      <a:pt x="395528" y="91"/>
                      <a:pt x="45117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259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DF95874E-5000-2B1A-17EA-FA726CA48531}"/>
                </a:ext>
              </a:extLst>
            </p:cNvPr>
            <p:cNvGrpSpPr/>
            <p:nvPr/>
          </p:nvGrpSpPr>
          <p:grpSpPr>
            <a:xfrm>
              <a:off x="11795297" y="5780610"/>
              <a:ext cx="237761" cy="402984"/>
              <a:chOff x="7668495" y="4750587"/>
              <a:chExt cx="237761" cy="402984"/>
            </a:xfrm>
          </p:grpSpPr>
          <p:sp>
            <p:nvSpPr>
              <p:cNvPr id="44" name="Freihandform 76">
                <a:extLst>
                  <a:ext uri="{FF2B5EF4-FFF2-40B4-BE49-F238E27FC236}">
                    <a16:creationId xmlns:a16="http://schemas.microsoft.com/office/drawing/2014/main" id="{3B1200F5-30E2-35D4-B59B-690F4B00BDD9}"/>
                  </a:ext>
                </a:extLst>
              </p:cNvPr>
              <p:cNvSpPr/>
              <p:nvPr/>
            </p:nvSpPr>
            <p:spPr>
              <a:xfrm>
                <a:off x="7668495" y="4802444"/>
                <a:ext cx="237761" cy="351127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45" name="Gruppieren 44">
                <a:extLst>
                  <a:ext uri="{FF2B5EF4-FFF2-40B4-BE49-F238E27FC236}">
                    <a16:creationId xmlns:a16="http://schemas.microsoft.com/office/drawing/2014/main" id="{CECB90E9-F7DB-A61F-2598-FC111EF10916}"/>
                  </a:ext>
                </a:extLst>
              </p:cNvPr>
              <p:cNvGrpSpPr/>
              <p:nvPr/>
            </p:nvGrpSpPr>
            <p:grpSpPr>
              <a:xfrm>
                <a:off x="7671618" y="4750587"/>
                <a:ext cx="233046" cy="122131"/>
                <a:chOff x="9650969" y="2426134"/>
                <a:chExt cx="1043720" cy="546975"/>
              </a:xfrm>
            </p:grpSpPr>
            <p:sp>
              <p:nvSpPr>
                <p:cNvPr id="46" name="Freihandform: Form 45">
                  <a:extLst>
                    <a:ext uri="{FF2B5EF4-FFF2-40B4-BE49-F238E27FC236}">
                      <a16:creationId xmlns:a16="http://schemas.microsoft.com/office/drawing/2014/main" id="{7279E665-91B0-DE06-D0A9-B82503E50AEB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7" name="Freihandform: Form 46" descr="Bauarbeiter Silhouette">
                  <a:extLst>
                    <a:ext uri="{FF2B5EF4-FFF2-40B4-BE49-F238E27FC236}">
                      <a16:creationId xmlns:a16="http://schemas.microsoft.com/office/drawing/2014/main" id="{5A27C358-BBD1-ED7A-2CF1-40C65E3F6804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996BBBD8-035A-5687-A7D9-6A6F68EE38BC}"/>
                </a:ext>
              </a:extLst>
            </p:cNvPr>
            <p:cNvGrpSpPr/>
            <p:nvPr/>
          </p:nvGrpSpPr>
          <p:grpSpPr>
            <a:xfrm>
              <a:off x="11543380" y="5950678"/>
              <a:ext cx="237761" cy="402984"/>
              <a:chOff x="7668495" y="4750587"/>
              <a:chExt cx="237761" cy="402984"/>
            </a:xfrm>
          </p:grpSpPr>
          <p:sp>
            <p:nvSpPr>
              <p:cNvPr id="40" name="Freihandform 76">
                <a:extLst>
                  <a:ext uri="{FF2B5EF4-FFF2-40B4-BE49-F238E27FC236}">
                    <a16:creationId xmlns:a16="http://schemas.microsoft.com/office/drawing/2014/main" id="{A76D08D4-82B9-62DA-8F0E-32E563A8C374}"/>
                  </a:ext>
                </a:extLst>
              </p:cNvPr>
              <p:cNvSpPr/>
              <p:nvPr/>
            </p:nvSpPr>
            <p:spPr>
              <a:xfrm>
                <a:off x="7668495" y="4802444"/>
                <a:ext cx="237761" cy="351127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41" name="Gruppieren 40">
                <a:extLst>
                  <a:ext uri="{FF2B5EF4-FFF2-40B4-BE49-F238E27FC236}">
                    <a16:creationId xmlns:a16="http://schemas.microsoft.com/office/drawing/2014/main" id="{E5EA5B47-0AEA-6084-1A23-BDC499C5402C}"/>
                  </a:ext>
                </a:extLst>
              </p:cNvPr>
              <p:cNvGrpSpPr/>
              <p:nvPr/>
            </p:nvGrpSpPr>
            <p:grpSpPr>
              <a:xfrm>
                <a:off x="7671618" y="4750587"/>
                <a:ext cx="233046" cy="122131"/>
                <a:chOff x="9650969" y="2426134"/>
                <a:chExt cx="1043720" cy="546975"/>
              </a:xfrm>
            </p:grpSpPr>
            <p:sp>
              <p:nvSpPr>
                <p:cNvPr id="42" name="Freihandform: Form 41">
                  <a:extLst>
                    <a:ext uri="{FF2B5EF4-FFF2-40B4-BE49-F238E27FC236}">
                      <a16:creationId xmlns:a16="http://schemas.microsoft.com/office/drawing/2014/main" id="{4A554D07-30B7-6D9B-39B0-FEA23EF74FED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3" name="Freihandform: Form 42" descr="Bauarbeiter Silhouette">
                  <a:extLst>
                    <a:ext uri="{FF2B5EF4-FFF2-40B4-BE49-F238E27FC236}">
                      <a16:creationId xmlns:a16="http://schemas.microsoft.com/office/drawing/2014/main" id="{2094DCE2-C7AF-3473-32EA-0584DC7096D5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E36256E7-43A0-7E00-A9A6-4A145EAB84BF}"/>
                </a:ext>
              </a:extLst>
            </p:cNvPr>
            <p:cNvGrpSpPr/>
            <p:nvPr/>
          </p:nvGrpSpPr>
          <p:grpSpPr>
            <a:xfrm>
              <a:off x="10345476" y="5720193"/>
              <a:ext cx="237761" cy="402984"/>
              <a:chOff x="7668495" y="4750587"/>
              <a:chExt cx="237761" cy="402984"/>
            </a:xfrm>
          </p:grpSpPr>
          <p:sp>
            <p:nvSpPr>
              <p:cNvPr id="36" name="Freihandform 76">
                <a:extLst>
                  <a:ext uri="{FF2B5EF4-FFF2-40B4-BE49-F238E27FC236}">
                    <a16:creationId xmlns:a16="http://schemas.microsoft.com/office/drawing/2014/main" id="{B23DFEBD-50FE-4974-DEFD-373537E7AAA4}"/>
                  </a:ext>
                </a:extLst>
              </p:cNvPr>
              <p:cNvSpPr/>
              <p:nvPr/>
            </p:nvSpPr>
            <p:spPr>
              <a:xfrm>
                <a:off x="7668495" y="4802444"/>
                <a:ext cx="237761" cy="351127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37" name="Gruppieren 36">
                <a:extLst>
                  <a:ext uri="{FF2B5EF4-FFF2-40B4-BE49-F238E27FC236}">
                    <a16:creationId xmlns:a16="http://schemas.microsoft.com/office/drawing/2014/main" id="{8D705201-CFBB-9EE8-6A28-7C80C92EE565}"/>
                  </a:ext>
                </a:extLst>
              </p:cNvPr>
              <p:cNvGrpSpPr/>
              <p:nvPr/>
            </p:nvGrpSpPr>
            <p:grpSpPr>
              <a:xfrm>
                <a:off x="7671618" y="4750587"/>
                <a:ext cx="233046" cy="122131"/>
                <a:chOff x="9650969" y="2426134"/>
                <a:chExt cx="1043720" cy="546975"/>
              </a:xfrm>
            </p:grpSpPr>
            <p:sp>
              <p:nvSpPr>
                <p:cNvPr id="38" name="Freihandform: Form 37">
                  <a:extLst>
                    <a:ext uri="{FF2B5EF4-FFF2-40B4-BE49-F238E27FC236}">
                      <a16:creationId xmlns:a16="http://schemas.microsoft.com/office/drawing/2014/main" id="{B68DA274-F88A-7318-4917-2785BE343043}"/>
                    </a:ext>
                  </a:extLst>
                </p:cNvPr>
                <p:cNvSpPr/>
                <p:nvPr/>
              </p:nvSpPr>
              <p:spPr>
                <a:xfrm>
                  <a:off x="9778563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9" name="Freihandform: Form 38" descr="Bauarbeiter Silhouette">
                  <a:extLst>
                    <a:ext uri="{FF2B5EF4-FFF2-40B4-BE49-F238E27FC236}">
                      <a16:creationId xmlns:a16="http://schemas.microsoft.com/office/drawing/2014/main" id="{B49573A0-9318-7F5B-943E-583723B4669E}"/>
                    </a:ext>
                  </a:extLst>
                </p:cNvPr>
                <p:cNvSpPr/>
                <p:nvPr/>
              </p:nvSpPr>
              <p:spPr>
                <a:xfrm>
                  <a:off x="9650969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FFADAC2A-5975-6A57-4F40-215BC6B3683C}"/>
                </a:ext>
              </a:extLst>
            </p:cNvPr>
            <p:cNvGrpSpPr/>
            <p:nvPr/>
          </p:nvGrpSpPr>
          <p:grpSpPr>
            <a:xfrm>
              <a:off x="10138333" y="5042945"/>
              <a:ext cx="375547" cy="614597"/>
              <a:chOff x="9870656" y="4436810"/>
              <a:chExt cx="1113505" cy="1822293"/>
            </a:xfrm>
          </p:grpSpPr>
          <p:sp>
            <p:nvSpPr>
              <p:cNvPr id="32" name="Freihandform 78">
                <a:extLst>
                  <a:ext uri="{FF2B5EF4-FFF2-40B4-BE49-F238E27FC236}">
                    <a16:creationId xmlns:a16="http://schemas.microsoft.com/office/drawing/2014/main" id="{6166B0BC-08E5-AE79-DAC1-E695D30937F0}"/>
                  </a:ext>
                </a:extLst>
              </p:cNvPr>
              <p:cNvSpPr/>
              <p:nvPr/>
            </p:nvSpPr>
            <p:spPr>
              <a:xfrm>
                <a:off x="9870656" y="4614668"/>
                <a:ext cx="1113505" cy="1644435"/>
              </a:xfrm>
              <a:custGeom>
                <a:avLst/>
                <a:gdLst>
                  <a:gd name="connsiteX0" fmla="*/ 362901 w 1080000"/>
                  <a:gd name="connsiteY0" fmla="*/ 735472 h 1594954"/>
                  <a:gd name="connsiteX1" fmla="*/ 363219 w 1080000"/>
                  <a:gd name="connsiteY1" fmla="*/ 735472 h 1594954"/>
                  <a:gd name="connsiteX2" fmla="*/ 399872 w 1080000"/>
                  <a:gd name="connsiteY2" fmla="*/ 755367 h 1594954"/>
                  <a:gd name="connsiteX3" fmla="*/ 540000 w 1080000"/>
                  <a:gd name="connsiteY3" fmla="*/ 783657 h 1594954"/>
                  <a:gd name="connsiteX4" fmla="*/ 680129 w 1080000"/>
                  <a:gd name="connsiteY4" fmla="*/ 755367 h 1594954"/>
                  <a:gd name="connsiteX5" fmla="*/ 716782 w 1080000"/>
                  <a:gd name="connsiteY5" fmla="*/ 735472 h 1594954"/>
                  <a:gd name="connsiteX6" fmla="*/ 717099 w 1080000"/>
                  <a:gd name="connsiteY6" fmla="*/ 735472 h 1594954"/>
                  <a:gd name="connsiteX7" fmla="*/ 1080000 w 1080000"/>
                  <a:gd name="connsiteY7" fmla="*/ 936327 h 1594954"/>
                  <a:gd name="connsiteX8" fmla="*/ 1080000 w 1080000"/>
                  <a:gd name="connsiteY8" fmla="*/ 1396511 h 1594954"/>
                  <a:gd name="connsiteX9" fmla="*/ 0 w 1080000"/>
                  <a:gd name="connsiteY9" fmla="*/ 1396511 h 1594954"/>
                  <a:gd name="connsiteX10" fmla="*/ 0 w 1080000"/>
                  <a:gd name="connsiteY10" fmla="*/ 936327 h 1594954"/>
                  <a:gd name="connsiteX11" fmla="*/ 362901 w 1080000"/>
                  <a:gd name="connsiteY11" fmla="*/ 735472 h 1594954"/>
                  <a:gd name="connsiteX12" fmla="*/ 540000 w 1080000"/>
                  <a:gd name="connsiteY12" fmla="*/ 0 h 1594954"/>
                  <a:gd name="connsiteX13" fmla="*/ 900000 w 1080000"/>
                  <a:gd name="connsiteY13" fmla="*/ 360000 h 1594954"/>
                  <a:gd name="connsiteX14" fmla="*/ 540000 w 1080000"/>
                  <a:gd name="connsiteY14" fmla="*/ 720000 h 1594954"/>
                  <a:gd name="connsiteX15" fmla="*/ 180000 w 1080000"/>
                  <a:gd name="connsiteY15" fmla="*/ 360000 h 1594954"/>
                  <a:gd name="connsiteX16" fmla="*/ 540000 w 1080000"/>
                  <a:gd name="connsiteY16" fmla="*/ 0 h 1594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80000" h="1594954">
                    <a:moveTo>
                      <a:pt x="362901" y="735472"/>
                    </a:moveTo>
                    <a:lnTo>
                      <a:pt x="363219" y="735472"/>
                    </a:lnTo>
                    <a:lnTo>
                      <a:pt x="399872" y="755367"/>
                    </a:lnTo>
                    <a:cubicBezTo>
                      <a:pt x="442942" y="773584"/>
                      <a:pt x="490295" y="783657"/>
                      <a:pt x="540000" y="783657"/>
                    </a:cubicBezTo>
                    <a:cubicBezTo>
                      <a:pt x="589706" y="783657"/>
                      <a:pt x="637059" y="773584"/>
                      <a:pt x="680129" y="755367"/>
                    </a:cubicBezTo>
                    <a:lnTo>
                      <a:pt x="716782" y="735472"/>
                    </a:lnTo>
                    <a:lnTo>
                      <a:pt x="717099" y="735472"/>
                    </a:lnTo>
                    <a:cubicBezTo>
                      <a:pt x="917524" y="735472"/>
                      <a:pt x="1080000" y="825398"/>
                      <a:pt x="1080000" y="936327"/>
                    </a:cubicBezTo>
                    <a:lnTo>
                      <a:pt x="1080000" y="1396511"/>
                    </a:lnTo>
                    <a:cubicBezTo>
                      <a:pt x="691917" y="1681653"/>
                      <a:pt x="253274" y="1639722"/>
                      <a:pt x="0" y="1396511"/>
                    </a:cubicBezTo>
                    <a:lnTo>
                      <a:pt x="0" y="936327"/>
                    </a:lnTo>
                    <a:cubicBezTo>
                      <a:pt x="0" y="825398"/>
                      <a:pt x="162477" y="735472"/>
                      <a:pt x="362901" y="735472"/>
                    </a:cubicBezTo>
                    <a:close/>
                    <a:moveTo>
                      <a:pt x="540000" y="0"/>
                    </a:moveTo>
                    <a:cubicBezTo>
                      <a:pt x="738823" y="0"/>
                      <a:pt x="900000" y="161177"/>
                      <a:pt x="900000" y="360000"/>
                    </a:cubicBezTo>
                    <a:cubicBezTo>
                      <a:pt x="900000" y="558823"/>
                      <a:pt x="738823" y="720000"/>
                      <a:pt x="540000" y="720000"/>
                    </a:cubicBezTo>
                    <a:cubicBezTo>
                      <a:pt x="341177" y="720000"/>
                      <a:pt x="180000" y="558823"/>
                      <a:pt x="180000" y="360000"/>
                    </a:cubicBezTo>
                    <a:cubicBezTo>
                      <a:pt x="180000" y="161177"/>
                      <a:pt x="341177" y="0"/>
                      <a:pt x="5400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rIns="144000" rtlCol="0" anchor="ctr">
                <a:noAutofit/>
              </a:bodyPr>
              <a:lstStyle/>
              <a:p>
                <a:pPr algn="ctr"/>
                <a:endParaRPr lang="de-DE" err="1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33" name="Gruppieren 32">
                <a:extLst>
                  <a:ext uri="{FF2B5EF4-FFF2-40B4-BE49-F238E27FC236}">
                    <a16:creationId xmlns:a16="http://schemas.microsoft.com/office/drawing/2014/main" id="{916E97A9-FD39-1F1D-44B9-A9BF8180692C}"/>
                  </a:ext>
                </a:extLst>
              </p:cNvPr>
              <p:cNvGrpSpPr/>
              <p:nvPr/>
            </p:nvGrpSpPr>
            <p:grpSpPr>
              <a:xfrm>
                <a:off x="9902047" y="4436810"/>
                <a:ext cx="1043720" cy="546975"/>
                <a:chOff x="8472264" y="2426134"/>
                <a:chExt cx="1043720" cy="546975"/>
              </a:xfrm>
            </p:grpSpPr>
            <p:sp>
              <p:nvSpPr>
                <p:cNvPr id="34" name="Freihandform: Form 33">
                  <a:extLst>
                    <a:ext uri="{FF2B5EF4-FFF2-40B4-BE49-F238E27FC236}">
                      <a16:creationId xmlns:a16="http://schemas.microsoft.com/office/drawing/2014/main" id="{9A0C3780-E7BD-D4BB-792E-85850FBEF69B}"/>
                    </a:ext>
                  </a:extLst>
                </p:cNvPr>
                <p:cNvSpPr/>
                <p:nvPr/>
              </p:nvSpPr>
              <p:spPr>
                <a:xfrm>
                  <a:off x="8599858" y="2459698"/>
                  <a:ext cx="792088" cy="470008"/>
                </a:xfrm>
                <a:custGeom>
                  <a:avLst/>
                  <a:gdLst>
                    <a:gd name="connsiteX0" fmla="*/ 385091 w 792088"/>
                    <a:gd name="connsiteY0" fmla="*/ 0 h 470008"/>
                    <a:gd name="connsiteX1" fmla="*/ 550964 w 792088"/>
                    <a:gd name="connsiteY1" fmla="*/ 62507 h 470008"/>
                    <a:gd name="connsiteX2" fmla="*/ 553975 w 792088"/>
                    <a:gd name="connsiteY2" fmla="*/ 70987 h 470008"/>
                    <a:gd name="connsiteX3" fmla="*/ 566515 w 792088"/>
                    <a:gd name="connsiteY3" fmla="*/ 72426 h 470008"/>
                    <a:gd name="connsiteX4" fmla="*/ 676463 w 792088"/>
                    <a:gd name="connsiteY4" fmla="*/ 166728 h 470008"/>
                    <a:gd name="connsiteX5" fmla="*/ 698346 w 792088"/>
                    <a:gd name="connsiteY5" fmla="*/ 166728 h 470008"/>
                    <a:gd name="connsiteX6" fmla="*/ 722213 w 792088"/>
                    <a:gd name="connsiteY6" fmla="*/ 190595 h 470008"/>
                    <a:gd name="connsiteX7" fmla="*/ 722213 w 792088"/>
                    <a:gd name="connsiteY7" fmla="*/ 242649 h 470008"/>
                    <a:gd name="connsiteX8" fmla="*/ 744181 w 792088"/>
                    <a:gd name="connsiteY8" fmla="*/ 242649 h 470008"/>
                    <a:gd name="connsiteX9" fmla="*/ 768048 w 792088"/>
                    <a:gd name="connsiteY9" fmla="*/ 266516 h 470008"/>
                    <a:gd name="connsiteX10" fmla="*/ 768048 w 792088"/>
                    <a:gd name="connsiteY10" fmla="*/ 326806 h 470008"/>
                    <a:gd name="connsiteX11" fmla="*/ 768221 w 792088"/>
                    <a:gd name="connsiteY11" fmla="*/ 326806 h 470008"/>
                    <a:gd name="connsiteX12" fmla="*/ 792088 w 792088"/>
                    <a:gd name="connsiteY12" fmla="*/ 350673 h 470008"/>
                    <a:gd name="connsiteX13" fmla="*/ 792088 w 792088"/>
                    <a:gd name="connsiteY13" fmla="*/ 446141 h 470008"/>
                    <a:gd name="connsiteX14" fmla="*/ 768221 w 792088"/>
                    <a:gd name="connsiteY14" fmla="*/ 470008 h 470008"/>
                    <a:gd name="connsiteX15" fmla="*/ 23867 w 792088"/>
                    <a:gd name="connsiteY15" fmla="*/ 470008 h 470008"/>
                    <a:gd name="connsiteX16" fmla="*/ 0 w 792088"/>
                    <a:gd name="connsiteY16" fmla="*/ 446141 h 470008"/>
                    <a:gd name="connsiteX17" fmla="*/ 0 w 792088"/>
                    <a:gd name="connsiteY17" fmla="*/ 350673 h 470008"/>
                    <a:gd name="connsiteX18" fmla="*/ 6991 w 792088"/>
                    <a:gd name="connsiteY18" fmla="*/ 333797 h 470008"/>
                    <a:gd name="connsiteX19" fmla="*/ 12048 w 792088"/>
                    <a:gd name="connsiteY19" fmla="*/ 331702 h 470008"/>
                    <a:gd name="connsiteX20" fmla="*/ 12048 w 792088"/>
                    <a:gd name="connsiteY20" fmla="*/ 266516 h 470008"/>
                    <a:gd name="connsiteX21" fmla="*/ 35915 w 792088"/>
                    <a:gd name="connsiteY21" fmla="*/ 242649 h 470008"/>
                    <a:gd name="connsiteX22" fmla="*/ 74140 w 792088"/>
                    <a:gd name="connsiteY22" fmla="*/ 242649 h 470008"/>
                    <a:gd name="connsiteX23" fmla="*/ 74140 w 792088"/>
                    <a:gd name="connsiteY23" fmla="*/ 190595 h 470008"/>
                    <a:gd name="connsiteX24" fmla="*/ 98007 w 792088"/>
                    <a:gd name="connsiteY24" fmla="*/ 166728 h 470008"/>
                    <a:gd name="connsiteX25" fmla="*/ 119626 w 792088"/>
                    <a:gd name="connsiteY25" fmla="*/ 166728 h 470008"/>
                    <a:gd name="connsiteX26" fmla="*/ 172353 w 792088"/>
                    <a:gd name="connsiteY26" fmla="*/ 94359 h 470008"/>
                    <a:gd name="connsiteX27" fmla="*/ 213509 w 792088"/>
                    <a:gd name="connsiteY27" fmla="*/ 78584 h 470008"/>
                    <a:gd name="connsiteX28" fmla="*/ 219218 w 792088"/>
                    <a:gd name="connsiteY28" fmla="*/ 62507 h 470008"/>
                    <a:gd name="connsiteX29" fmla="*/ 385091 w 792088"/>
                    <a:gd name="connsiteY29" fmla="*/ 0 h 470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792088" h="470008">
                      <a:moveTo>
                        <a:pt x="385091" y="0"/>
                      </a:moveTo>
                      <a:cubicBezTo>
                        <a:pt x="459658" y="0"/>
                        <a:pt x="523635" y="25774"/>
                        <a:pt x="550964" y="62507"/>
                      </a:cubicBezTo>
                      <a:lnTo>
                        <a:pt x="553975" y="70987"/>
                      </a:lnTo>
                      <a:lnTo>
                        <a:pt x="566515" y="72426"/>
                      </a:lnTo>
                      <a:cubicBezTo>
                        <a:pt x="631127" y="87963"/>
                        <a:pt x="676463" y="124335"/>
                        <a:pt x="676463" y="166728"/>
                      </a:cubicBezTo>
                      <a:lnTo>
                        <a:pt x="698346" y="166728"/>
                      </a:lnTo>
                      <a:cubicBezTo>
                        <a:pt x="711527" y="166728"/>
                        <a:pt x="722213" y="177414"/>
                        <a:pt x="722213" y="190595"/>
                      </a:cubicBezTo>
                      <a:lnTo>
                        <a:pt x="722213" y="242649"/>
                      </a:lnTo>
                      <a:lnTo>
                        <a:pt x="744181" y="242649"/>
                      </a:lnTo>
                      <a:cubicBezTo>
                        <a:pt x="757362" y="242649"/>
                        <a:pt x="768048" y="253335"/>
                        <a:pt x="768048" y="266516"/>
                      </a:cubicBezTo>
                      <a:lnTo>
                        <a:pt x="768048" y="326806"/>
                      </a:lnTo>
                      <a:lnTo>
                        <a:pt x="768221" y="326806"/>
                      </a:lnTo>
                      <a:cubicBezTo>
                        <a:pt x="781402" y="326806"/>
                        <a:pt x="792088" y="337492"/>
                        <a:pt x="792088" y="350673"/>
                      </a:cubicBezTo>
                      <a:lnTo>
                        <a:pt x="792088" y="446141"/>
                      </a:lnTo>
                      <a:cubicBezTo>
                        <a:pt x="792088" y="459322"/>
                        <a:pt x="781402" y="470008"/>
                        <a:pt x="768221" y="470008"/>
                      </a:cubicBezTo>
                      <a:lnTo>
                        <a:pt x="23867" y="470008"/>
                      </a:lnTo>
                      <a:cubicBezTo>
                        <a:pt x="10686" y="470008"/>
                        <a:pt x="0" y="459322"/>
                        <a:pt x="0" y="446141"/>
                      </a:cubicBezTo>
                      <a:lnTo>
                        <a:pt x="0" y="350673"/>
                      </a:lnTo>
                      <a:cubicBezTo>
                        <a:pt x="0" y="344083"/>
                        <a:pt x="2672" y="338116"/>
                        <a:pt x="6991" y="333797"/>
                      </a:cubicBezTo>
                      <a:lnTo>
                        <a:pt x="12048" y="331702"/>
                      </a:lnTo>
                      <a:lnTo>
                        <a:pt x="12048" y="266516"/>
                      </a:lnTo>
                      <a:cubicBezTo>
                        <a:pt x="12048" y="253335"/>
                        <a:pt x="22734" y="242649"/>
                        <a:pt x="35915" y="242649"/>
                      </a:cubicBezTo>
                      <a:lnTo>
                        <a:pt x="74140" y="242649"/>
                      </a:lnTo>
                      <a:lnTo>
                        <a:pt x="74140" y="190595"/>
                      </a:lnTo>
                      <a:cubicBezTo>
                        <a:pt x="74140" y="177414"/>
                        <a:pt x="84826" y="166728"/>
                        <a:pt x="98007" y="166728"/>
                      </a:cubicBezTo>
                      <a:lnTo>
                        <a:pt x="119626" y="166728"/>
                      </a:lnTo>
                      <a:cubicBezTo>
                        <a:pt x="119626" y="138466"/>
                        <a:pt x="139776" y="112880"/>
                        <a:pt x="172353" y="94359"/>
                      </a:cubicBezTo>
                      <a:lnTo>
                        <a:pt x="213509" y="78584"/>
                      </a:lnTo>
                      <a:lnTo>
                        <a:pt x="219218" y="62507"/>
                      </a:lnTo>
                      <a:cubicBezTo>
                        <a:pt x="246547" y="25774"/>
                        <a:pt x="310525" y="0"/>
                        <a:pt x="38509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5" name="Freihandform: Form 34" descr="Bauarbeiter Silhouette">
                  <a:extLst>
                    <a:ext uri="{FF2B5EF4-FFF2-40B4-BE49-F238E27FC236}">
                      <a16:creationId xmlns:a16="http://schemas.microsoft.com/office/drawing/2014/main" id="{B22F9C40-1006-3F78-4FF7-BA8777F1DE0F}"/>
                    </a:ext>
                  </a:extLst>
                </p:cNvPr>
                <p:cNvSpPr/>
                <p:nvPr/>
              </p:nvSpPr>
              <p:spPr>
                <a:xfrm>
                  <a:off x="8472264" y="2426134"/>
                  <a:ext cx="1043720" cy="546975"/>
                </a:xfrm>
                <a:custGeom>
                  <a:avLst/>
                  <a:gdLst>
                    <a:gd name="connsiteX0" fmla="*/ 451174 w 1043720"/>
                    <a:gd name="connsiteY0" fmla="*/ 52186 h 546975"/>
                    <a:gd name="connsiteX1" fmla="*/ 382732 w 1043720"/>
                    <a:gd name="connsiteY1" fmla="*/ 105755 h 546975"/>
                    <a:gd name="connsiteX2" fmla="*/ 427612 w 1043720"/>
                    <a:gd name="connsiteY2" fmla="*/ 282587 h 546975"/>
                    <a:gd name="connsiteX3" fmla="*/ 410991 w 1043720"/>
                    <a:gd name="connsiteY3" fmla="*/ 311550 h 546975"/>
                    <a:gd name="connsiteX4" fmla="*/ 409660 w 1043720"/>
                    <a:gd name="connsiteY4" fmla="*/ 311864 h 546975"/>
                    <a:gd name="connsiteX5" fmla="*/ 403215 w 1043720"/>
                    <a:gd name="connsiteY5" fmla="*/ 311864 h 546975"/>
                    <a:gd name="connsiteX6" fmla="*/ 380306 w 1043720"/>
                    <a:gd name="connsiteY6" fmla="*/ 293912 h 546975"/>
                    <a:gd name="connsiteX7" fmla="*/ 343775 w 1043720"/>
                    <a:gd name="connsiteY7" fmla="*/ 144451 h 546975"/>
                    <a:gd name="connsiteX8" fmla="*/ 145469 w 1043720"/>
                    <a:gd name="connsiteY8" fmla="*/ 453496 h 546975"/>
                    <a:gd name="connsiteX9" fmla="*/ 145469 w 1043720"/>
                    <a:gd name="connsiteY9" fmla="*/ 495767 h 546975"/>
                    <a:gd name="connsiteX10" fmla="*/ 899765 w 1043720"/>
                    <a:gd name="connsiteY10" fmla="*/ 495767 h 546975"/>
                    <a:gd name="connsiteX11" fmla="*/ 899765 w 1043720"/>
                    <a:gd name="connsiteY11" fmla="*/ 453496 h 546975"/>
                    <a:gd name="connsiteX12" fmla="*/ 701458 w 1043720"/>
                    <a:gd name="connsiteY12" fmla="*/ 144451 h 546975"/>
                    <a:gd name="connsiteX13" fmla="*/ 663676 w 1043720"/>
                    <a:gd name="connsiteY13" fmla="*/ 293912 h 546975"/>
                    <a:gd name="connsiteX14" fmla="*/ 640766 w 1043720"/>
                    <a:gd name="connsiteY14" fmla="*/ 311864 h 546975"/>
                    <a:gd name="connsiteX15" fmla="*/ 634399 w 1043720"/>
                    <a:gd name="connsiteY15" fmla="*/ 311864 h 546975"/>
                    <a:gd name="connsiteX16" fmla="*/ 634156 w 1043720"/>
                    <a:gd name="connsiteY16" fmla="*/ 311814 h 546975"/>
                    <a:gd name="connsiteX17" fmla="*/ 616134 w 1043720"/>
                    <a:gd name="connsiteY17" fmla="*/ 283918 h 546975"/>
                    <a:gd name="connsiteX18" fmla="*/ 616447 w 1043720"/>
                    <a:gd name="connsiteY18" fmla="*/ 282587 h 546975"/>
                    <a:gd name="connsiteX19" fmla="*/ 661301 w 1043720"/>
                    <a:gd name="connsiteY19" fmla="*/ 105781 h 546975"/>
                    <a:gd name="connsiteX20" fmla="*/ 592833 w 1043720"/>
                    <a:gd name="connsiteY20" fmla="*/ 52186 h 546975"/>
                    <a:gd name="connsiteX21" fmla="*/ 451174 w 1043720"/>
                    <a:gd name="connsiteY21" fmla="*/ 0 h 546975"/>
                    <a:gd name="connsiteX22" fmla="*/ 593016 w 1043720"/>
                    <a:gd name="connsiteY22" fmla="*/ 0 h 546975"/>
                    <a:gd name="connsiteX23" fmla="*/ 711347 w 1043720"/>
                    <a:gd name="connsiteY23" fmla="*/ 90491 h 546975"/>
                    <a:gd name="connsiteX24" fmla="*/ 726220 w 1043720"/>
                    <a:gd name="connsiteY24" fmla="*/ 98475 h 546975"/>
                    <a:gd name="connsiteX25" fmla="*/ 951925 w 1043720"/>
                    <a:gd name="connsiteY25" fmla="*/ 450209 h 546975"/>
                    <a:gd name="connsiteX26" fmla="*/ 951925 w 1043720"/>
                    <a:gd name="connsiteY26" fmla="*/ 451852 h 546975"/>
                    <a:gd name="connsiteX27" fmla="*/ 951925 w 1043720"/>
                    <a:gd name="connsiteY27" fmla="*/ 495767 h 546975"/>
                    <a:gd name="connsiteX28" fmla="*/ 1017627 w 1043720"/>
                    <a:gd name="connsiteY28" fmla="*/ 495767 h 546975"/>
                    <a:gd name="connsiteX29" fmla="*/ 1043720 w 1043720"/>
                    <a:gd name="connsiteY29" fmla="*/ 521860 h 546975"/>
                    <a:gd name="connsiteX30" fmla="*/ 1036078 w 1043720"/>
                    <a:gd name="connsiteY30" fmla="*/ 540311 h 546975"/>
                    <a:gd name="connsiteX31" fmla="*/ 1019988 w 1043720"/>
                    <a:gd name="connsiteY31" fmla="*/ 546975 h 546975"/>
                    <a:gd name="connsiteX32" fmla="*/ 23732 w 1043720"/>
                    <a:gd name="connsiteY32" fmla="*/ 546975 h 546975"/>
                    <a:gd name="connsiteX33" fmla="*/ 7642 w 1043720"/>
                    <a:gd name="connsiteY33" fmla="*/ 540311 h 546975"/>
                    <a:gd name="connsiteX34" fmla="*/ 0 w 1043720"/>
                    <a:gd name="connsiteY34" fmla="*/ 521860 h 546975"/>
                    <a:gd name="connsiteX35" fmla="*/ 26093 w 1043720"/>
                    <a:gd name="connsiteY35" fmla="*/ 495767 h 546975"/>
                    <a:gd name="connsiteX36" fmla="*/ 93387 w 1043720"/>
                    <a:gd name="connsiteY36" fmla="*/ 495767 h 546975"/>
                    <a:gd name="connsiteX37" fmla="*/ 93387 w 1043720"/>
                    <a:gd name="connsiteY37" fmla="*/ 451931 h 546975"/>
                    <a:gd name="connsiteX38" fmla="*/ 93387 w 1043720"/>
                    <a:gd name="connsiteY38" fmla="*/ 450287 h 546975"/>
                    <a:gd name="connsiteX39" fmla="*/ 319091 w 1043720"/>
                    <a:gd name="connsiteY39" fmla="*/ 98553 h 546975"/>
                    <a:gd name="connsiteX40" fmla="*/ 332581 w 1043720"/>
                    <a:gd name="connsiteY40" fmla="*/ 91326 h 546975"/>
                    <a:gd name="connsiteX41" fmla="*/ 451174 w 1043720"/>
                    <a:gd name="connsiteY41" fmla="*/ 0 h 546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043720" h="546975">
                      <a:moveTo>
                        <a:pt x="451174" y="52186"/>
                      </a:moveTo>
                      <a:cubicBezTo>
                        <a:pt x="418798" y="52297"/>
                        <a:pt x="390617" y="74352"/>
                        <a:pt x="382732" y="105755"/>
                      </a:cubicBezTo>
                      <a:lnTo>
                        <a:pt x="427612" y="282587"/>
                      </a:lnTo>
                      <a:cubicBezTo>
                        <a:pt x="431004" y="295172"/>
                        <a:pt x="423568" y="308130"/>
                        <a:pt x="410991" y="311550"/>
                      </a:cubicBezTo>
                      <a:cubicBezTo>
                        <a:pt x="410552" y="311678"/>
                        <a:pt x="410109" y="311785"/>
                        <a:pt x="409660" y="311864"/>
                      </a:cubicBezTo>
                      <a:lnTo>
                        <a:pt x="403215" y="311864"/>
                      </a:lnTo>
                      <a:cubicBezTo>
                        <a:pt x="392345" y="311903"/>
                        <a:pt x="382865" y="304477"/>
                        <a:pt x="380306" y="293912"/>
                      </a:cubicBezTo>
                      <a:lnTo>
                        <a:pt x="343775" y="144451"/>
                      </a:lnTo>
                      <a:cubicBezTo>
                        <a:pt x="228679" y="206242"/>
                        <a:pt x="153683" y="323120"/>
                        <a:pt x="145469" y="453496"/>
                      </a:cubicBezTo>
                      <a:lnTo>
                        <a:pt x="145469" y="495767"/>
                      </a:lnTo>
                      <a:lnTo>
                        <a:pt x="899765" y="495767"/>
                      </a:lnTo>
                      <a:lnTo>
                        <a:pt x="899765" y="453496"/>
                      </a:lnTo>
                      <a:cubicBezTo>
                        <a:pt x="891551" y="323120"/>
                        <a:pt x="816554" y="206242"/>
                        <a:pt x="701458" y="144451"/>
                      </a:cubicBezTo>
                      <a:lnTo>
                        <a:pt x="663676" y="293912"/>
                      </a:lnTo>
                      <a:cubicBezTo>
                        <a:pt x="661116" y="304477"/>
                        <a:pt x="651636" y="311903"/>
                        <a:pt x="640766" y="311864"/>
                      </a:cubicBezTo>
                      <a:lnTo>
                        <a:pt x="634399" y="311864"/>
                      </a:lnTo>
                      <a:cubicBezTo>
                        <a:pt x="634318" y="311848"/>
                        <a:pt x="634237" y="311830"/>
                        <a:pt x="634156" y="311814"/>
                      </a:cubicBezTo>
                      <a:cubicBezTo>
                        <a:pt x="621478" y="309087"/>
                        <a:pt x="613407" y="296599"/>
                        <a:pt x="616134" y="283918"/>
                      </a:cubicBezTo>
                      <a:cubicBezTo>
                        <a:pt x="616212" y="283469"/>
                        <a:pt x="616319" y="283026"/>
                        <a:pt x="616447" y="282587"/>
                      </a:cubicBezTo>
                      <a:lnTo>
                        <a:pt x="661301" y="105781"/>
                      </a:lnTo>
                      <a:cubicBezTo>
                        <a:pt x="653416" y="74364"/>
                        <a:pt x="625225" y="52297"/>
                        <a:pt x="592833" y="52186"/>
                      </a:cubicBezTo>
                      <a:close/>
                      <a:moveTo>
                        <a:pt x="451174" y="0"/>
                      </a:moveTo>
                      <a:lnTo>
                        <a:pt x="593016" y="0"/>
                      </a:lnTo>
                      <a:cubicBezTo>
                        <a:pt x="648330" y="98"/>
                        <a:pt x="696761" y="37135"/>
                        <a:pt x="711347" y="90491"/>
                      </a:cubicBezTo>
                      <a:lnTo>
                        <a:pt x="726220" y="98475"/>
                      </a:lnTo>
                      <a:cubicBezTo>
                        <a:pt x="857570" y="168420"/>
                        <a:pt x="943072" y="301661"/>
                        <a:pt x="951925" y="450209"/>
                      </a:cubicBezTo>
                      <a:lnTo>
                        <a:pt x="951925" y="451852"/>
                      </a:lnTo>
                      <a:lnTo>
                        <a:pt x="951925" y="495767"/>
                      </a:lnTo>
                      <a:lnTo>
                        <a:pt x="1017627" y="495767"/>
                      </a:lnTo>
                      <a:cubicBezTo>
                        <a:pt x="1032038" y="495767"/>
                        <a:pt x="1043720" y="507449"/>
                        <a:pt x="1043720" y="521860"/>
                      </a:cubicBezTo>
                      <a:cubicBezTo>
                        <a:pt x="1043720" y="529066"/>
                        <a:pt x="1040800" y="535589"/>
                        <a:pt x="1036078" y="540311"/>
                      </a:cubicBezTo>
                      <a:lnTo>
                        <a:pt x="1019988" y="546975"/>
                      </a:lnTo>
                      <a:lnTo>
                        <a:pt x="23732" y="546975"/>
                      </a:lnTo>
                      <a:lnTo>
                        <a:pt x="7642" y="540311"/>
                      </a:lnTo>
                      <a:cubicBezTo>
                        <a:pt x="2921" y="535589"/>
                        <a:pt x="0" y="529066"/>
                        <a:pt x="0" y="521860"/>
                      </a:cubicBezTo>
                      <a:cubicBezTo>
                        <a:pt x="0" y="507449"/>
                        <a:pt x="11682" y="495767"/>
                        <a:pt x="26093" y="495767"/>
                      </a:cubicBezTo>
                      <a:lnTo>
                        <a:pt x="93387" y="495767"/>
                      </a:lnTo>
                      <a:lnTo>
                        <a:pt x="93387" y="451931"/>
                      </a:lnTo>
                      <a:lnTo>
                        <a:pt x="93387" y="450287"/>
                      </a:lnTo>
                      <a:cubicBezTo>
                        <a:pt x="102232" y="301737"/>
                        <a:pt x="187734" y="168490"/>
                        <a:pt x="319091" y="98553"/>
                      </a:cubicBezTo>
                      <a:lnTo>
                        <a:pt x="332581" y="91326"/>
                      </a:lnTo>
                      <a:cubicBezTo>
                        <a:pt x="346886" y="37550"/>
                        <a:pt x="395528" y="91"/>
                        <a:pt x="45117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59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</p:grp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3FECFB5B-64B4-4220-EE86-1E78FFEC07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</a:p>
        </p:txBody>
      </p:sp>
    </p:spTree>
    <p:extLst>
      <p:ext uri="{BB962C8B-B14F-4D97-AF65-F5344CB8AC3E}">
        <p14:creationId xmlns:p14="http://schemas.microsoft.com/office/powerpoint/2010/main" val="29022491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2845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Grafik 37">
            <a:extLst>
              <a:ext uri="{FF2B5EF4-FFF2-40B4-BE49-F238E27FC236}">
                <a16:creationId xmlns:a16="http://schemas.microsoft.com/office/drawing/2014/main" id="{AC8E0941-9C0C-F3BF-C822-A64E48B584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01" y="730020"/>
            <a:ext cx="11376000" cy="50244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7431" y="179497"/>
            <a:ext cx="10236000" cy="718145"/>
          </a:xfrm>
        </p:spPr>
        <p:txBody>
          <a:bodyPr vert="horz"/>
          <a:lstStyle/>
          <a:p>
            <a:r>
              <a:rPr lang="de-DE" dirty="0"/>
              <a:t>EMIR – Erneuerung MIBRAG im Revier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A4D08B67-3235-798A-EEF9-B000F47F01CA}"/>
              </a:ext>
            </a:extLst>
          </p:cNvPr>
          <p:cNvSpPr txBox="1"/>
          <p:nvPr/>
        </p:nvSpPr>
        <p:spPr>
          <a:xfrm>
            <a:off x="2351584" y="5497200"/>
            <a:ext cx="995101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dirty="0"/>
              <a:t>Wir...           …nutzen die </a:t>
            </a:r>
            <a:r>
              <a:rPr lang="de-DE" sz="1600" b="1" dirty="0">
                <a:solidFill>
                  <a:schemeClr val="accent1"/>
                </a:solidFill>
              </a:rPr>
              <a:t>Chancen</a:t>
            </a:r>
            <a:r>
              <a:rPr lang="de-DE" sz="1600" dirty="0"/>
              <a:t>, die uns die </a:t>
            </a:r>
            <a:r>
              <a:rPr lang="de-DE" sz="1600" b="1" dirty="0">
                <a:solidFill>
                  <a:schemeClr val="accent1"/>
                </a:solidFill>
              </a:rPr>
              <a:t>Energiewende</a:t>
            </a:r>
            <a:r>
              <a:rPr lang="de-DE" sz="1600" dirty="0"/>
              <a:t> bietet </a:t>
            </a:r>
          </a:p>
          <a:p>
            <a:pPr>
              <a:spcAft>
                <a:spcPts val="600"/>
              </a:spcAft>
            </a:pPr>
            <a:r>
              <a:rPr lang="de-DE" sz="1600" dirty="0"/>
              <a:t>                   …gestalten mit </a:t>
            </a:r>
            <a:r>
              <a:rPr lang="de-DE" sz="1600" b="1" dirty="0">
                <a:solidFill>
                  <a:schemeClr val="accent1"/>
                </a:solidFill>
              </a:rPr>
              <a:t>Knowhow </a:t>
            </a:r>
            <a:r>
              <a:rPr lang="de-DE" sz="1600" dirty="0"/>
              <a:t>und</a:t>
            </a:r>
            <a:r>
              <a:rPr lang="de-DE" sz="1600" b="1" dirty="0">
                <a:solidFill>
                  <a:schemeClr val="accent1"/>
                </a:solidFill>
              </a:rPr>
              <a:t> Einsatz </a:t>
            </a:r>
            <a:r>
              <a:rPr lang="de-DE" sz="1600" dirty="0"/>
              <a:t>einen zukunftsweisenden</a:t>
            </a:r>
            <a:r>
              <a:rPr lang="de-DE" sz="1600" b="1" dirty="0">
                <a:solidFill>
                  <a:schemeClr val="accent1"/>
                </a:solidFill>
              </a:rPr>
              <a:t> Transformationsprozess</a:t>
            </a:r>
          </a:p>
          <a:p>
            <a:pPr>
              <a:spcAft>
                <a:spcPts val="600"/>
              </a:spcAft>
            </a:pPr>
            <a:r>
              <a:rPr lang="de-DE" sz="1600" dirty="0"/>
              <a:t>                   …benötigen </a:t>
            </a:r>
            <a:r>
              <a:rPr lang="de-DE" sz="1600" b="1" dirty="0">
                <a:solidFill>
                  <a:schemeClr val="accent1"/>
                </a:solidFill>
              </a:rPr>
              <a:t>verlässliche Rahmenbedingungen </a:t>
            </a:r>
            <a:r>
              <a:rPr lang="de-DE" sz="1600" dirty="0"/>
              <a:t>und </a:t>
            </a:r>
            <a:r>
              <a:rPr lang="de-DE" sz="1600" b="1" dirty="0">
                <a:solidFill>
                  <a:schemeClr val="accent1"/>
                </a:solidFill>
              </a:rPr>
              <a:t>politischen Rückhal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F712033-1680-3DA7-0416-FCCC2FF0B4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1.2023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F2ED94A-B56F-6748-9A7C-07EAA66213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</a:p>
        </p:txBody>
      </p:sp>
    </p:spTree>
    <p:extLst>
      <p:ext uri="{BB962C8B-B14F-4D97-AF65-F5344CB8AC3E}">
        <p14:creationId xmlns:p14="http://schemas.microsoft.com/office/powerpoint/2010/main" val="12332463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97A95D5-F476-4A32-BF9F-E5C1C4AC1E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3285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2" imgH="530" progId="TCLayout.ActiveDocument.1">
                  <p:embed/>
                </p:oleObj>
              </mc:Choice>
              <mc:Fallback>
                <p:oleObj name="think-cell Folie" r:id="rId3" imgW="532" imgH="53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97A95D5-F476-4A32-BF9F-E5C1C4AC1E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5758194-2204-758E-3569-54659A5C4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b="1" dirty="0"/>
              <a:t>MIBRAG</a:t>
            </a:r>
            <a:r>
              <a:rPr lang="de-DE" dirty="0"/>
              <a:t> – Energie aus der Region.</a:t>
            </a:r>
            <a:br>
              <a:rPr lang="de-DE" dirty="0"/>
            </a:br>
            <a:r>
              <a:rPr lang="de-DE" dirty="0"/>
              <a:t>Verlässlich. Vielseitig. Verantwortungsvoll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DD1FF95-002E-9C4E-9890-41598A10E6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1.2023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FDD3A9F-A325-A427-36D4-56E50CF084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48801CD-FFF3-DC49-0AA4-0C85A02E8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2</a:t>
            </a:fld>
            <a:endParaRPr lang="de-DE"/>
          </a:p>
        </p:txBody>
      </p:sp>
      <p:pic>
        <p:nvPicPr>
          <p:cNvPr id="6" name="Grafik 5" descr="Ein Bild, das Spielzeug, Hund, Gras, Tennis enthält.&#10;&#10;Automatisch generierte Beschreibung">
            <a:extLst>
              <a:ext uri="{FF2B5EF4-FFF2-40B4-BE49-F238E27FC236}">
                <a16:creationId xmlns:a16="http://schemas.microsoft.com/office/drawing/2014/main" id="{3FE0740B-5049-6668-B817-39D85693AB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901" y="1059909"/>
            <a:ext cx="9682197" cy="5447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8132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F77426-244A-4E9B-B2F0-2F03D45D14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/>
              <a:t>Glückauf und vielen Dank 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28892744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8" imgH="278" progId="TCLayout.ActiveDocument.1">
                  <p:embed/>
                </p:oleObj>
              </mc:Choice>
              <mc:Fallback>
                <p:oleObj name="think-cell Folie" r:id="rId3" imgW="278" imgH="278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tandorte der MIBRAG Betriebsstätten - Revierkart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1.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55E1AB-7971-CF7E-4F9F-26EEE84E0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43A17F4-3D74-5C33-F9B0-BE9BFDA7C5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21</a:t>
            </a:fld>
            <a:endParaRPr lang="de-DE" dirty="0"/>
          </a:p>
        </p:txBody>
      </p:sp>
      <p:pic>
        <p:nvPicPr>
          <p:cNvPr id="10" name="Grafik 9" descr="Ein Bild, das Text, Karte, Atlas, Diagramm enthält.&#10;&#10;Automatisch generierte Beschreibung">
            <a:extLst>
              <a:ext uri="{FF2B5EF4-FFF2-40B4-BE49-F238E27FC236}">
                <a16:creationId xmlns:a16="http://schemas.microsoft.com/office/drawing/2014/main" id="{85515A97-2958-02CE-CCDC-1533EB21E97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780" y="998968"/>
            <a:ext cx="10056440" cy="5569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36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ext Box 7"/>
          <p:cNvSpPr txBox="1">
            <a:spLocks noChangeArrowheads="1"/>
          </p:cNvSpPr>
          <p:nvPr/>
        </p:nvSpPr>
        <p:spPr bwMode="auto">
          <a:xfrm>
            <a:off x="5960884" y="2968049"/>
            <a:ext cx="1242748" cy="468000"/>
          </a:xfrm>
          <a:prstGeom prst="rect">
            <a:avLst/>
          </a:prstGeom>
          <a:solidFill>
            <a:sysClr val="window" lastClr="FFFFFF"/>
          </a:solidFill>
          <a:ln w="57150" cap="flat" cmpd="sng" algn="ctr">
            <a:solidFill>
              <a:sysClr val="window" lastClr="FFFFFF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>
            <a:defPPr>
              <a:defRPr lang="en-US"/>
            </a:defPPr>
            <a:lvl1pPr algn="ctr">
              <a:defRPr sz="1400">
                <a:solidFill>
                  <a:srgbClr val="FF0000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5" name="Picture 167" descr="C:\Users\HARNISCHS\Pictures\LEAG_(Logo)_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1193" y="3119464"/>
            <a:ext cx="702439" cy="14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Text Box 7"/>
          <p:cNvSpPr txBox="1">
            <a:spLocks noChangeArrowheads="1"/>
          </p:cNvSpPr>
          <p:nvPr/>
        </p:nvSpPr>
        <p:spPr bwMode="auto">
          <a:xfrm>
            <a:off x="1247786" y="3486856"/>
            <a:ext cx="1368152" cy="468000"/>
          </a:xfrm>
          <a:prstGeom prst="rect">
            <a:avLst/>
          </a:prstGeom>
          <a:solidFill>
            <a:sysClr val="window" lastClr="FFFFFF"/>
          </a:solidFill>
          <a:ln w="57150" cap="flat" cmpd="sng" algn="ctr">
            <a:solidFill>
              <a:sysClr val="window" lastClr="FFFFFF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>
            <a:defPPr>
              <a:defRPr lang="en-US"/>
            </a:defPPr>
            <a:lvl1pPr algn="ctr">
              <a:defRPr sz="1400">
                <a:solidFill>
                  <a:srgbClr val="FF0000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8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5798" y="3523529"/>
            <a:ext cx="936104" cy="394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1.2023</a:t>
            </a:r>
            <a:endParaRPr lang="de-DE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803" b="98678" l="3120" r="97504">
                        <a14:foregroundMark x1="6084" y1="68990" x2="6084" y2="68990"/>
                        <a14:foregroundMark x1="7644" y1="69351" x2="7644" y2="69351"/>
                        <a14:foregroundMark x1="6084" y1="70313" x2="6084" y2="70313"/>
                        <a14:foregroundMark x1="4992" y1="68389" x2="9360" y2="68389"/>
                        <a14:foregroundMark x1="6396" y1="68389" x2="6240" y2="71154"/>
                        <a14:foregroundMark x1="4992" y1="68510" x2="5928" y2="71034"/>
                        <a14:foregroundMark x1="6240" y1="71154" x2="7800" y2="71154"/>
                        <a14:foregroundMark x1="9672" y1="70433" x2="9672" y2="70433"/>
                        <a14:foregroundMark x1="10452" y1="70553" x2="10452" y2="70553"/>
                        <a14:foregroundMark x1="8424" y1="70433" x2="8424" y2="70433"/>
                        <a14:foregroundMark x1="9048" y1="70673" x2="9048" y2="70673"/>
                        <a14:foregroundMark x1="12637" y1="72837" x2="12637" y2="72837"/>
                        <a14:foregroundMark x1="6084" y1="51563" x2="6084" y2="51563"/>
                        <a14:foregroundMark x1="30577" y1="92188" x2="30577" y2="92188"/>
                        <a14:foregroundMark x1="31513" y1="92788" x2="31513" y2="92788"/>
                        <a14:foregroundMark x1="77847" y1="92788" x2="77847" y2="92788"/>
                        <a14:foregroundMark x1="70671" y1="8894" x2="70671" y2="8894"/>
                        <a14:foregroundMark x1="69891" y1="9014" x2="69891" y2="9014"/>
                        <a14:foregroundMark x1="72231" y1="8774" x2="72231" y2="8774"/>
                        <a14:foregroundMark x1="61310" y1="13221" x2="61310" y2="13221"/>
                        <a14:foregroundMark x1="34477" y1="10457" x2="34477" y2="10457"/>
                        <a14:foregroundMark x1="34633" y1="9615" x2="34633" y2="9615"/>
                        <a14:foregroundMark x1="8112" y1="45673" x2="8112" y2="45673"/>
                        <a14:foregroundMark x1="8580" y1="44471" x2="8580" y2="44471"/>
                        <a14:foregroundMark x1="8112" y1="44952" x2="8112" y2="44952"/>
                        <a14:foregroundMark x1="8112" y1="44712" x2="8112" y2="44712"/>
                        <a14:backgroundMark x1="9048" y1="17067" x2="9048" y2="170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245" b="1351"/>
          <a:stretch/>
        </p:blipFill>
        <p:spPr bwMode="auto">
          <a:xfrm>
            <a:off x="2043491" y="863672"/>
            <a:ext cx="4552589" cy="5696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24"/>
          <p:cNvSpPr>
            <a:spLocks noChangeArrowheads="1"/>
          </p:cNvSpPr>
          <p:nvPr/>
        </p:nvSpPr>
        <p:spPr bwMode="auto">
          <a:xfrm>
            <a:off x="8449282" y="1165553"/>
            <a:ext cx="2721633" cy="1152000"/>
          </a:xfrm>
          <a:prstGeom prst="rect">
            <a:avLst/>
          </a:prstGeom>
          <a:noFill/>
          <a:ln w="57150" cap="flat" cmpd="sng" algn="ctr">
            <a:solidFill>
              <a:sysClr val="window" lastClr="FFFFFF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 Box 39"/>
          <p:cNvSpPr txBox="1">
            <a:spLocks noChangeArrowheads="1"/>
          </p:cNvSpPr>
          <p:nvPr/>
        </p:nvSpPr>
        <p:spPr bwMode="auto">
          <a:xfrm>
            <a:off x="8451244" y="1177394"/>
            <a:ext cx="1638802" cy="4514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 anchorCtr="0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ts val="14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t>Rheinisches Revier</a:t>
            </a:r>
          </a:p>
        </p:txBody>
      </p:sp>
      <p:sp>
        <p:nvSpPr>
          <p:cNvPr id="11" name="Line 47"/>
          <p:cNvSpPr>
            <a:spLocks noChangeShapeType="1"/>
          </p:cNvSpPr>
          <p:nvPr/>
        </p:nvSpPr>
        <p:spPr bwMode="auto">
          <a:xfrm>
            <a:off x="8479294" y="1592796"/>
            <a:ext cx="2652223" cy="0"/>
          </a:xfrm>
          <a:prstGeom prst="line">
            <a:avLst/>
          </a:prstGeom>
          <a:noFill/>
          <a:ln w="9525">
            <a:solidFill>
              <a:sysClr val="window" lastClr="FFFFFF">
                <a:lumMod val="85000"/>
              </a:sys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12" name="Picture 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0396" y="1287810"/>
            <a:ext cx="468052" cy="19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4136" y="3923130"/>
            <a:ext cx="389866" cy="19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24"/>
          <p:cNvSpPr>
            <a:spLocks noChangeArrowheads="1"/>
          </p:cNvSpPr>
          <p:nvPr/>
        </p:nvSpPr>
        <p:spPr bwMode="auto">
          <a:xfrm>
            <a:off x="8444588" y="3773268"/>
            <a:ext cx="2721633" cy="1152000"/>
          </a:xfrm>
          <a:prstGeom prst="rect">
            <a:avLst/>
          </a:prstGeom>
          <a:noFill/>
          <a:ln w="57150" cap="flat" cmpd="sng" algn="ctr">
            <a:solidFill>
              <a:sysClr val="window" lastClr="FFFFFF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 Box 39"/>
          <p:cNvSpPr txBox="1">
            <a:spLocks noChangeArrowheads="1"/>
          </p:cNvSpPr>
          <p:nvPr/>
        </p:nvSpPr>
        <p:spPr bwMode="auto">
          <a:xfrm>
            <a:off x="8447300" y="3817981"/>
            <a:ext cx="1638802" cy="4514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 anchorCtr="0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ts val="14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t>Mitteldeutsches Revier</a:t>
            </a:r>
          </a:p>
        </p:txBody>
      </p:sp>
      <p:sp>
        <p:nvSpPr>
          <p:cNvPr id="16" name="Line 47"/>
          <p:cNvSpPr>
            <a:spLocks noChangeShapeType="1"/>
          </p:cNvSpPr>
          <p:nvPr/>
        </p:nvSpPr>
        <p:spPr bwMode="auto">
          <a:xfrm>
            <a:off x="8475350" y="4233383"/>
            <a:ext cx="2652223" cy="0"/>
          </a:xfrm>
          <a:prstGeom prst="line">
            <a:avLst/>
          </a:prstGeom>
          <a:noFill/>
          <a:ln w="9525">
            <a:solidFill>
              <a:sysClr val="window" lastClr="FFFFFF">
                <a:lumMod val="85000"/>
              </a:sys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7" name="Rectangle 24"/>
          <p:cNvSpPr>
            <a:spLocks noChangeArrowheads="1"/>
          </p:cNvSpPr>
          <p:nvPr/>
        </p:nvSpPr>
        <p:spPr bwMode="auto">
          <a:xfrm>
            <a:off x="8448532" y="2454920"/>
            <a:ext cx="2721633" cy="1152000"/>
          </a:xfrm>
          <a:prstGeom prst="rect">
            <a:avLst/>
          </a:prstGeom>
          <a:noFill/>
          <a:ln w="57150" cap="flat" cmpd="sng" algn="ctr">
            <a:solidFill>
              <a:sysClr val="window" lastClr="FFFFFF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 Box 39"/>
          <p:cNvSpPr txBox="1">
            <a:spLocks noChangeArrowheads="1"/>
          </p:cNvSpPr>
          <p:nvPr/>
        </p:nvSpPr>
        <p:spPr bwMode="auto">
          <a:xfrm>
            <a:off x="8451244" y="2499633"/>
            <a:ext cx="1638802" cy="4514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 anchorCtr="0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ts val="14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t>Lausitzer</a:t>
            </a:r>
            <a:b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</a:b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t>Revier</a:t>
            </a:r>
          </a:p>
        </p:txBody>
      </p:sp>
      <p:sp>
        <p:nvSpPr>
          <p:cNvPr id="19" name="Line 47"/>
          <p:cNvSpPr>
            <a:spLocks noChangeShapeType="1"/>
          </p:cNvSpPr>
          <p:nvPr/>
        </p:nvSpPr>
        <p:spPr bwMode="auto">
          <a:xfrm>
            <a:off x="8479294" y="2915035"/>
            <a:ext cx="2652223" cy="0"/>
          </a:xfrm>
          <a:prstGeom prst="line">
            <a:avLst/>
          </a:prstGeom>
          <a:noFill/>
          <a:ln w="9525">
            <a:solidFill>
              <a:sysClr val="window" lastClr="FFFFFF">
                <a:lumMod val="85000"/>
              </a:sys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20" name="Picture 5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1196" y="3955879"/>
            <a:ext cx="603308" cy="132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feld 20"/>
          <p:cNvSpPr txBox="1"/>
          <p:nvPr/>
        </p:nvSpPr>
        <p:spPr>
          <a:xfrm>
            <a:off x="8517146" y="1583271"/>
            <a:ext cx="579646" cy="230832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</a:rPr>
              <a:t>Tagebau:</a:t>
            </a:r>
          </a:p>
        </p:txBody>
      </p:sp>
      <p:grpSp>
        <p:nvGrpSpPr>
          <p:cNvPr id="22" name="Gruppieren 21"/>
          <p:cNvGrpSpPr/>
          <p:nvPr/>
        </p:nvGrpSpPr>
        <p:grpSpPr>
          <a:xfrm>
            <a:off x="8525679" y="1754825"/>
            <a:ext cx="789878" cy="230832"/>
            <a:chOff x="6300192" y="3043560"/>
            <a:chExt cx="789878" cy="230832"/>
          </a:xfrm>
        </p:grpSpPr>
        <p:sp>
          <p:nvSpPr>
            <p:cNvPr id="23" name="Ellipse 22"/>
            <p:cNvSpPr/>
            <p:nvPr/>
          </p:nvSpPr>
          <p:spPr>
            <a:xfrm>
              <a:off x="6300192" y="3095451"/>
              <a:ext cx="108000" cy="108000"/>
            </a:xfrm>
            <a:prstGeom prst="ellipse">
              <a:avLst/>
            </a:prstGeom>
            <a:solidFill>
              <a:srgbClr val="A98D63">
                <a:lumMod val="60000"/>
                <a:lumOff val="40000"/>
              </a:srgbClr>
            </a:solidFill>
            <a:ln w="3175" cap="flat" cmpd="sng" algn="ctr">
              <a:solidFill>
                <a:srgbClr val="60340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6446304" y="3043560"/>
              <a:ext cx="643766" cy="230832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</a:rPr>
                <a:t>Garzweiler</a:t>
              </a:r>
            </a:p>
          </p:txBody>
        </p:sp>
      </p:grpSp>
      <p:grpSp>
        <p:nvGrpSpPr>
          <p:cNvPr id="25" name="Gruppieren 24"/>
          <p:cNvGrpSpPr/>
          <p:nvPr/>
        </p:nvGrpSpPr>
        <p:grpSpPr>
          <a:xfrm>
            <a:off x="8525679" y="1894312"/>
            <a:ext cx="732170" cy="230832"/>
            <a:chOff x="6300192" y="3043560"/>
            <a:chExt cx="732170" cy="230832"/>
          </a:xfrm>
        </p:grpSpPr>
        <p:sp>
          <p:nvSpPr>
            <p:cNvPr id="26" name="Ellipse 25"/>
            <p:cNvSpPr/>
            <p:nvPr/>
          </p:nvSpPr>
          <p:spPr>
            <a:xfrm>
              <a:off x="6300192" y="3095451"/>
              <a:ext cx="108000" cy="108000"/>
            </a:xfrm>
            <a:prstGeom prst="ellipse">
              <a:avLst/>
            </a:prstGeom>
            <a:solidFill>
              <a:srgbClr val="A98D63">
                <a:lumMod val="60000"/>
                <a:lumOff val="40000"/>
              </a:srgbClr>
            </a:solidFill>
            <a:ln w="3175" cap="flat" cmpd="sng" algn="ctr">
              <a:solidFill>
                <a:srgbClr val="60340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6446304" y="3043560"/>
              <a:ext cx="586058" cy="230832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</a:rPr>
                <a:t>Hambach</a:t>
              </a:r>
            </a:p>
          </p:txBody>
        </p:sp>
      </p:grpSp>
      <p:grpSp>
        <p:nvGrpSpPr>
          <p:cNvPr id="28" name="Gruppieren 27"/>
          <p:cNvGrpSpPr/>
          <p:nvPr/>
        </p:nvGrpSpPr>
        <p:grpSpPr>
          <a:xfrm>
            <a:off x="8525679" y="2033799"/>
            <a:ext cx="526985" cy="230832"/>
            <a:chOff x="6300192" y="3043560"/>
            <a:chExt cx="526985" cy="230832"/>
          </a:xfrm>
        </p:grpSpPr>
        <p:sp>
          <p:nvSpPr>
            <p:cNvPr id="29" name="Ellipse 28"/>
            <p:cNvSpPr/>
            <p:nvPr/>
          </p:nvSpPr>
          <p:spPr>
            <a:xfrm>
              <a:off x="6300192" y="3095451"/>
              <a:ext cx="108000" cy="108000"/>
            </a:xfrm>
            <a:prstGeom prst="ellipse">
              <a:avLst/>
            </a:prstGeom>
            <a:solidFill>
              <a:srgbClr val="A98D63">
                <a:lumMod val="60000"/>
                <a:lumOff val="40000"/>
              </a:srgbClr>
            </a:solidFill>
            <a:ln w="3175" cap="flat" cmpd="sng" algn="ctr">
              <a:solidFill>
                <a:srgbClr val="60340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6446304" y="3043560"/>
              <a:ext cx="380873" cy="230832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</a:rPr>
                <a:t>Inden</a:t>
              </a:r>
            </a:p>
          </p:txBody>
        </p:sp>
      </p:grpSp>
      <p:sp>
        <p:nvSpPr>
          <p:cNvPr id="31" name="Textfeld 30"/>
          <p:cNvSpPr txBox="1"/>
          <p:nvPr/>
        </p:nvSpPr>
        <p:spPr>
          <a:xfrm>
            <a:off x="8517146" y="2914068"/>
            <a:ext cx="579646" cy="230832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</a:rPr>
              <a:t>Tagebau:</a:t>
            </a:r>
          </a:p>
        </p:txBody>
      </p:sp>
      <p:grpSp>
        <p:nvGrpSpPr>
          <p:cNvPr id="32" name="Gruppieren 31"/>
          <p:cNvGrpSpPr/>
          <p:nvPr/>
        </p:nvGrpSpPr>
        <p:grpSpPr>
          <a:xfrm>
            <a:off x="8525679" y="3085622"/>
            <a:ext cx="886058" cy="230832"/>
            <a:chOff x="6300192" y="3043560"/>
            <a:chExt cx="886058" cy="230832"/>
          </a:xfrm>
        </p:grpSpPr>
        <p:sp>
          <p:nvSpPr>
            <p:cNvPr id="33" name="Ellipse 32"/>
            <p:cNvSpPr/>
            <p:nvPr/>
          </p:nvSpPr>
          <p:spPr>
            <a:xfrm>
              <a:off x="6300192" y="3095451"/>
              <a:ext cx="108000" cy="108000"/>
            </a:xfrm>
            <a:prstGeom prst="ellipse">
              <a:avLst/>
            </a:prstGeom>
            <a:solidFill>
              <a:srgbClr val="A98D63">
                <a:lumMod val="60000"/>
                <a:lumOff val="40000"/>
              </a:srgbClr>
            </a:solidFill>
            <a:ln w="3175" cap="flat" cmpd="sng" algn="ctr">
              <a:solidFill>
                <a:srgbClr val="60340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6446304" y="3043560"/>
              <a:ext cx="739946" cy="230832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</a:rPr>
                <a:t>Welzow</a:t>
              </a: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</a:rPr>
                <a:t>-Süd</a:t>
              </a:r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8525679" y="3225109"/>
            <a:ext cx="905294" cy="230832"/>
            <a:chOff x="6300192" y="3043560"/>
            <a:chExt cx="905294" cy="230832"/>
          </a:xfrm>
        </p:grpSpPr>
        <p:sp>
          <p:nvSpPr>
            <p:cNvPr id="36" name="Ellipse 35"/>
            <p:cNvSpPr/>
            <p:nvPr/>
          </p:nvSpPr>
          <p:spPr>
            <a:xfrm>
              <a:off x="6300192" y="3095451"/>
              <a:ext cx="108000" cy="108000"/>
            </a:xfrm>
            <a:prstGeom prst="ellipse">
              <a:avLst/>
            </a:prstGeom>
            <a:solidFill>
              <a:srgbClr val="A98D63">
                <a:lumMod val="60000"/>
                <a:lumOff val="40000"/>
              </a:srgbClr>
            </a:solidFill>
            <a:ln w="3175" cap="flat" cmpd="sng" algn="ctr">
              <a:solidFill>
                <a:srgbClr val="60340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Textfeld 36"/>
            <p:cNvSpPr txBox="1"/>
            <p:nvPr/>
          </p:nvSpPr>
          <p:spPr>
            <a:xfrm>
              <a:off x="6446304" y="3043560"/>
              <a:ext cx="759182" cy="230832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</a:rPr>
                <a:t>Jänschwalde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8525679" y="3364596"/>
            <a:ext cx="834762" cy="230832"/>
            <a:chOff x="6300192" y="3043560"/>
            <a:chExt cx="834762" cy="230832"/>
          </a:xfrm>
        </p:grpSpPr>
        <p:sp>
          <p:nvSpPr>
            <p:cNvPr id="39" name="Ellipse 38"/>
            <p:cNvSpPr/>
            <p:nvPr/>
          </p:nvSpPr>
          <p:spPr>
            <a:xfrm>
              <a:off x="6300192" y="3095451"/>
              <a:ext cx="108000" cy="108000"/>
            </a:xfrm>
            <a:prstGeom prst="ellipse">
              <a:avLst/>
            </a:prstGeom>
            <a:solidFill>
              <a:srgbClr val="A98D63">
                <a:lumMod val="60000"/>
                <a:lumOff val="40000"/>
              </a:srgbClr>
            </a:solidFill>
            <a:ln w="3175" cap="flat" cmpd="sng" algn="ctr">
              <a:solidFill>
                <a:srgbClr val="60340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Textfeld 39"/>
            <p:cNvSpPr txBox="1"/>
            <p:nvPr/>
          </p:nvSpPr>
          <p:spPr>
            <a:xfrm>
              <a:off x="6446304" y="3043560"/>
              <a:ext cx="688650" cy="230832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</a:rPr>
                <a:t>Reichwalde</a:t>
              </a:r>
            </a:p>
          </p:txBody>
        </p:sp>
      </p:grpSp>
      <p:grpSp>
        <p:nvGrpSpPr>
          <p:cNvPr id="41" name="Gruppieren 40"/>
          <p:cNvGrpSpPr/>
          <p:nvPr/>
        </p:nvGrpSpPr>
        <p:grpSpPr>
          <a:xfrm>
            <a:off x="9425779" y="3085622"/>
            <a:ext cx="668050" cy="230832"/>
            <a:chOff x="6300192" y="3043560"/>
            <a:chExt cx="668050" cy="230832"/>
          </a:xfrm>
        </p:grpSpPr>
        <p:sp>
          <p:nvSpPr>
            <p:cNvPr id="42" name="Ellipse 41"/>
            <p:cNvSpPr/>
            <p:nvPr/>
          </p:nvSpPr>
          <p:spPr>
            <a:xfrm>
              <a:off x="6300192" y="3095451"/>
              <a:ext cx="108000" cy="108000"/>
            </a:xfrm>
            <a:prstGeom prst="ellipse">
              <a:avLst/>
            </a:prstGeom>
            <a:solidFill>
              <a:srgbClr val="A98D63">
                <a:lumMod val="60000"/>
                <a:lumOff val="40000"/>
              </a:srgbClr>
            </a:solidFill>
            <a:ln w="3175" cap="flat" cmpd="sng" algn="ctr">
              <a:solidFill>
                <a:srgbClr val="60340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Textfeld 42"/>
            <p:cNvSpPr txBox="1"/>
            <p:nvPr/>
          </p:nvSpPr>
          <p:spPr>
            <a:xfrm>
              <a:off x="6446304" y="3043560"/>
              <a:ext cx="521938" cy="230832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</a:rPr>
                <a:t>Nochten</a:t>
              </a:r>
            </a:p>
          </p:txBody>
        </p:sp>
      </p:grpSp>
      <p:sp>
        <p:nvSpPr>
          <p:cNvPr id="44" name="Textfeld 43"/>
          <p:cNvSpPr txBox="1"/>
          <p:nvPr/>
        </p:nvSpPr>
        <p:spPr>
          <a:xfrm>
            <a:off x="8513202" y="4237630"/>
            <a:ext cx="579646" cy="230832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</a:rPr>
              <a:t>Tagebau:</a:t>
            </a:r>
          </a:p>
        </p:txBody>
      </p:sp>
      <p:grpSp>
        <p:nvGrpSpPr>
          <p:cNvPr id="45" name="Gruppieren 44"/>
          <p:cNvGrpSpPr/>
          <p:nvPr/>
        </p:nvGrpSpPr>
        <p:grpSpPr>
          <a:xfrm>
            <a:off x="8521735" y="4409184"/>
            <a:ext cx="578282" cy="230832"/>
            <a:chOff x="6300192" y="3043560"/>
            <a:chExt cx="578282" cy="230832"/>
          </a:xfrm>
        </p:grpSpPr>
        <p:sp>
          <p:nvSpPr>
            <p:cNvPr id="46" name="Ellipse 45"/>
            <p:cNvSpPr/>
            <p:nvPr/>
          </p:nvSpPr>
          <p:spPr>
            <a:xfrm>
              <a:off x="6300192" y="3095451"/>
              <a:ext cx="108000" cy="108000"/>
            </a:xfrm>
            <a:prstGeom prst="ellipse">
              <a:avLst/>
            </a:prstGeom>
            <a:solidFill>
              <a:srgbClr val="A98D63">
                <a:lumMod val="60000"/>
                <a:lumOff val="40000"/>
              </a:srgbClr>
            </a:solidFill>
            <a:ln w="3175" cap="flat" cmpd="sng" algn="ctr">
              <a:solidFill>
                <a:srgbClr val="60340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Textfeld 46"/>
            <p:cNvSpPr txBox="1"/>
            <p:nvPr/>
          </p:nvSpPr>
          <p:spPr>
            <a:xfrm>
              <a:off x="6446304" y="3043560"/>
              <a:ext cx="432170" cy="230832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</a:rPr>
                <a:t>Profen</a:t>
              </a:r>
            </a:p>
          </p:txBody>
        </p:sp>
      </p:grpSp>
      <p:grpSp>
        <p:nvGrpSpPr>
          <p:cNvPr id="48" name="Gruppieren 47"/>
          <p:cNvGrpSpPr/>
          <p:nvPr/>
        </p:nvGrpSpPr>
        <p:grpSpPr>
          <a:xfrm>
            <a:off x="8521735" y="4548671"/>
            <a:ext cx="1482375" cy="230832"/>
            <a:chOff x="6300192" y="3043560"/>
            <a:chExt cx="1482375" cy="230832"/>
          </a:xfrm>
        </p:grpSpPr>
        <p:sp>
          <p:nvSpPr>
            <p:cNvPr id="49" name="Ellipse 48"/>
            <p:cNvSpPr/>
            <p:nvPr/>
          </p:nvSpPr>
          <p:spPr>
            <a:xfrm>
              <a:off x="6300192" y="3095451"/>
              <a:ext cx="108000" cy="108000"/>
            </a:xfrm>
            <a:prstGeom prst="ellipse">
              <a:avLst/>
            </a:prstGeom>
            <a:solidFill>
              <a:srgbClr val="A98D63">
                <a:lumMod val="60000"/>
                <a:lumOff val="40000"/>
              </a:srgbClr>
            </a:solidFill>
            <a:ln w="3175" cap="flat" cmpd="sng" algn="ctr">
              <a:solidFill>
                <a:srgbClr val="60340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Textfeld 49"/>
            <p:cNvSpPr txBox="1"/>
            <p:nvPr/>
          </p:nvSpPr>
          <p:spPr>
            <a:xfrm>
              <a:off x="6446304" y="3043560"/>
              <a:ext cx="1336263" cy="230832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</a:rPr>
                <a:t>Vereinigtes Schleenhain</a:t>
              </a:r>
            </a:p>
          </p:txBody>
        </p:sp>
      </p:grpSp>
      <p:grpSp>
        <p:nvGrpSpPr>
          <p:cNvPr id="51" name="Gruppieren 50"/>
          <p:cNvGrpSpPr/>
          <p:nvPr/>
        </p:nvGrpSpPr>
        <p:grpSpPr>
          <a:xfrm>
            <a:off x="8521735" y="4688158"/>
            <a:ext cx="668050" cy="230832"/>
            <a:chOff x="6300192" y="3043560"/>
            <a:chExt cx="668050" cy="230832"/>
          </a:xfrm>
        </p:grpSpPr>
        <p:sp>
          <p:nvSpPr>
            <p:cNvPr id="52" name="Ellipse 51"/>
            <p:cNvSpPr/>
            <p:nvPr/>
          </p:nvSpPr>
          <p:spPr>
            <a:xfrm>
              <a:off x="6300192" y="3095451"/>
              <a:ext cx="108000" cy="108000"/>
            </a:xfrm>
            <a:prstGeom prst="ellipse">
              <a:avLst/>
            </a:prstGeom>
            <a:solidFill>
              <a:srgbClr val="A98D63">
                <a:lumMod val="60000"/>
                <a:lumOff val="40000"/>
              </a:srgbClr>
            </a:solidFill>
            <a:ln w="3175" cap="flat" cmpd="sng" algn="ctr">
              <a:solidFill>
                <a:srgbClr val="603408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Textfeld 52"/>
            <p:cNvSpPr txBox="1"/>
            <p:nvPr/>
          </p:nvSpPr>
          <p:spPr>
            <a:xfrm>
              <a:off x="6446304" y="3043560"/>
              <a:ext cx="521938" cy="230832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</a:rPr>
                <a:t>Amsdorf</a:t>
              </a:r>
            </a:p>
          </p:txBody>
        </p:sp>
      </p:grpSp>
      <p:sp>
        <p:nvSpPr>
          <p:cNvPr id="54" name="Text Box 29"/>
          <p:cNvSpPr txBox="1">
            <a:spLocks noChangeArrowheads="1"/>
          </p:cNvSpPr>
          <p:nvPr/>
        </p:nvSpPr>
        <p:spPr bwMode="auto">
          <a:xfrm>
            <a:off x="10021276" y="1747089"/>
            <a:ext cx="109164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t>65,3 Mio. t</a:t>
            </a:r>
          </a:p>
        </p:txBody>
      </p:sp>
      <p:sp>
        <p:nvSpPr>
          <p:cNvPr id="55" name="Text Box 29"/>
          <p:cNvSpPr txBox="1">
            <a:spLocks noChangeArrowheads="1"/>
          </p:cNvSpPr>
          <p:nvPr/>
        </p:nvSpPr>
        <p:spPr bwMode="auto">
          <a:xfrm>
            <a:off x="10021276" y="3085622"/>
            <a:ext cx="109164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kern="0" noProof="0" dirty="0">
                <a:solidFill>
                  <a:prstClr val="black"/>
                </a:solidFill>
              </a:rPr>
              <a:t>48,5</a:t>
            </a: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t> Mio. t</a:t>
            </a:r>
          </a:p>
        </p:txBody>
      </p:sp>
      <p:sp>
        <p:nvSpPr>
          <p:cNvPr id="56" name="Text Box 29"/>
          <p:cNvSpPr txBox="1">
            <a:spLocks noChangeArrowheads="1"/>
          </p:cNvSpPr>
          <p:nvPr/>
        </p:nvSpPr>
        <p:spPr bwMode="auto">
          <a:xfrm>
            <a:off x="10017332" y="4356310"/>
            <a:ext cx="109164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kern="0" dirty="0">
                <a:solidFill>
                  <a:prstClr val="black"/>
                </a:solidFill>
              </a:rPr>
              <a:t>17,0</a:t>
            </a: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t> Mio. t</a:t>
            </a:r>
          </a:p>
        </p:txBody>
      </p:sp>
      <p:pic>
        <p:nvPicPr>
          <p:cNvPr id="57" name="Picture 167" descr="C:\Users\HARNISCHS\Pictures\LEAG_(Logo)_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6009" y="2595750"/>
            <a:ext cx="702439" cy="14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8" name="Gruppieren 57"/>
          <p:cNvGrpSpPr/>
          <p:nvPr/>
        </p:nvGrpSpPr>
        <p:grpSpPr>
          <a:xfrm>
            <a:off x="8444133" y="5092955"/>
            <a:ext cx="2721633" cy="1152000"/>
            <a:chOff x="6170846" y="2421478"/>
            <a:chExt cx="2721633" cy="1152000"/>
          </a:xfrm>
        </p:grpSpPr>
        <p:sp>
          <p:nvSpPr>
            <p:cNvPr id="59" name="Line 47"/>
            <p:cNvSpPr>
              <a:spLocks noChangeShapeType="1"/>
            </p:cNvSpPr>
            <p:nvPr/>
          </p:nvSpPr>
          <p:spPr bwMode="auto">
            <a:xfrm>
              <a:off x="6201608" y="2881593"/>
              <a:ext cx="2652223" cy="0"/>
            </a:xfrm>
            <a:prstGeom prst="line">
              <a:avLst/>
            </a:prstGeom>
            <a:noFill/>
            <a:ln w="9525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0" name="Gruppieren 59"/>
            <p:cNvGrpSpPr/>
            <p:nvPr/>
          </p:nvGrpSpPr>
          <p:grpSpPr>
            <a:xfrm>
              <a:off x="6170846" y="2421478"/>
              <a:ext cx="2721633" cy="1152000"/>
              <a:chOff x="6170846" y="2421478"/>
              <a:chExt cx="2721633" cy="1152000"/>
            </a:xfrm>
          </p:grpSpPr>
          <p:sp>
            <p:nvSpPr>
              <p:cNvPr id="61" name="Rectangle 24"/>
              <p:cNvSpPr>
                <a:spLocks noChangeArrowheads="1"/>
              </p:cNvSpPr>
              <p:nvPr/>
            </p:nvSpPr>
            <p:spPr bwMode="auto">
              <a:xfrm>
                <a:off x="6170846" y="2421478"/>
                <a:ext cx="2721633" cy="1152000"/>
              </a:xfrm>
              <a:prstGeom prst="rect">
                <a:avLst/>
              </a:prstGeom>
              <a:noFill/>
              <a:ln w="57150" cap="flat" cmpd="sng" algn="ctr">
                <a:solidFill>
                  <a:sysClr val="window" lastClr="FFFFFF"/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Text Box 39"/>
              <p:cNvSpPr txBox="1">
                <a:spLocks noChangeArrowheads="1"/>
              </p:cNvSpPr>
              <p:nvPr/>
            </p:nvSpPr>
            <p:spPr bwMode="auto">
              <a:xfrm>
                <a:off x="6173558" y="2466191"/>
                <a:ext cx="1638802" cy="45140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 anchorCtr="0">
                <a:spAutoFit/>
              </a:bodyPr>
              <a:lstStyle>
                <a:lvl1pPr eaLnBrk="0" hangingPunct="0">
                  <a:defRPr sz="15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15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1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15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15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ts val="14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</a:rPr>
                  <a:t>Helmstedter Revier</a:t>
                </a:r>
              </a:p>
            </p:txBody>
          </p:sp>
          <p:pic>
            <p:nvPicPr>
              <p:cNvPr id="63" name="Picture 4"/>
              <p:cNvPicPr>
                <a:picLocks noChangeAspect="1" noChangeArrowheads="1"/>
              </p:cNvPicPr>
              <p:nvPr/>
            </p:nvPicPr>
            <p:blipFill rotWithShape="1"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821" r="3920"/>
              <a:stretch/>
            </p:blipFill>
            <p:spPr bwMode="auto">
              <a:xfrm>
                <a:off x="8212505" y="2571205"/>
                <a:ext cx="618257" cy="2413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4" name="Text Box 29"/>
              <p:cNvSpPr txBox="1">
                <a:spLocks noChangeArrowheads="1"/>
              </p:cNvSpPr>
              <p:nvPr/>
            </p:nvSpPr>
            <p:spPr bwMode="auto">
              <a:xfrm>
                <a:off x="7743590" y="3059434"/>
                <a:ext cx="1091647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rIns="0">
                <a:spAutoFit/>
              </a:bodyPr>
              <a:lstStyle>
                <a:lvl1pPr eaLnBrk="0" hangingPunct="0">
                  <a:defRPr sz="15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15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1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15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15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5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</a:rPr>
                  <a:t>0 Mio. t</a:t>
                </a:r>
              </a:p>
            </p:txBody>
          </p:sp>
          <p:sp>
            <p:nvSpPr>
              <p:cNvPr id="65" name="Textfeld 64"/>
              <p:cNvSpPr txBox="1"/>
              <p:nvPr/>
            </p:nvSpPr>
            <p:spPr>
              <a:xfrm>
                <a:off x="6301993" y="3023434"/>
                <a:ext cx="164258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Kraftwerk seit Oktober 2020 endgültig stillgelegt</a:t>
                </a:r>
              </a:p>
            </p:txBody>
          </p:sp>
        </p:grpSp>
      </p:grpSp>
      <p:sp>
        <p:nvSpPr>
          <p:cNvPr id="67" name="Titel 6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örderung im Jahr 2022 in Deutschland</a:t>
            </a:r>
          </a:p>
        </p:txBody>
      </p:sp>
      <p:grpSp>
        <p:nvGrpSpPr>
          <p:cNvPr id="71" name="Gruppieren 70"/>
          <p:cNvGrpSpPr/>
          <p:nvPr/>
        </p:nvGrpSpPr>
        <p:grpSpPr>
          <a:xfrm>
            <a:off x="3248931" y="2698185"/>
            <a:ext cx="1014301" cy="468000"/>
            <a:chOff x="3500350" y="2613117"/>
            <a:chExt cx="1014301" cy="468000"/>
          </a:xfrm>
        </p:grpSpPr>
        <p:sp>
          <p:nvSpPr>
            <p:cNvPr id="72" name="Text Box 7"/>
            <p:cNvSpPr txBox="1">
              <a:spLocks noChangeArrowheads="1"/>
            </p:cNvSpPr>
            <p:nvPr/>
          </p:nvSpPr>
          <p:spPr bwMode="auto">
            <a:xfrm>
              <a:off x="3521501" y="2613117"/>
              <a:ext cx="972000" cy="468000"/>
            </a:xfrm>
            <a:prstGeom prst="rect">
              <a:avLst/>
            </a:prstGeom>
            <a:solidFill>
              <a:sysClr val="window" lastClr="FFFFFF"/>
            </a:solidFill>
            <a:ln w="57150" cap="flat" cmpd="sng" algn="ctr">
              <a:solidFill>
                <a:sysClr val="window" lastClr="FFFFFF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rtlCol="0" anchor="ctr"/>
            <a:lstStyle>
              <a:defPPr>
                <a:defRPr lang="en-US"/>
              </a:defPPr>
              <a:lvl1pPr algn="ctr">
                <a:defRPr sz="1400">
                  <a:solidFill>
                    <a:srgbClr val="FF0000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3" name="Picture 4"/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821" r="3920"/>
            <a:stretch/>
          </p:blipFill>
          <p:spPr bwMode="auto">
            <a:xfrm>
              <a:off x="3500350" y="2663832"/>
              <a:ext cx="1014301" cy="39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9" name="Text Box 7"/>
          <p:cNvSpPr txBox="1">
            <a:spLocks noChangeArrowheads="1"/>
          </p:cNvSpPr>
          <p:nvPr/>
        </p:nvSpPr>
        <p:spPr bwMode="auto">
          <a:xfrm>
            <a:off x="3491365" y="3611595"/>
            <a:ext cx="972000" cy="468000"/>
          </a:xfrm>
          <a:prstGeom prst="rect">
            <a:avLst/>
          </a:prstGeom>
          <a:solidFill>
            <a:sysClr val="window" lastClr="FFFFFF"/>
          </a:solidFill>
          <a:ln w="57150" cap="flat" cmpd="sng" algn="ctr">
            <a:solidFill>
              <a:sysClr val="window" lastClr="FFFFFF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/>
          <a:lstStyle>
            <a:defPPr>
              <a:defRPr lang="en-US"/>
            </a:defPPr>
            <a:lvl1pPr algn="ctr">
              <a:defRPr sz="1400">
                <a:solidFill>
                  <a:srgbClr val="FF0000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0" name="Picture 5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6932" y="3723302"/>
            <a:ext cx="1008000" cy="221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1" name="Gruppieren 80"/>
          <p:cNvGrpSpPr/>
          <p:nvPr/>
        </p:nvGrpSpPr>
        <p:grpSpPr>
          <a:xfrm>
            <a:off x="4909844" y="3752456"/>
            <a:ext cx="972000" cy="468000"/>
            <a:chOff x="5148064" y="3695861"/>
            <a:chExt cx="972000" cy="468000"/>
          </a:xfrm>
        </p:grpSpPr>
        <p:sp>
          <p:nvSpPr>
            <p:cNvPr id="82" name="Text Box 7"/>
            <p:cNvSpPr txBox="1">
              <a:spLocks noChangeArrowheads="1"/>
            </p:cNvSpPr>
            <p:nvPr/>
          </p:nvSpPr>
          <p:spPr bwMode="auto">
            <a:xfrm>
              <a:off x="5148064" y="3695861"/>
              <a:ext cx="972000" cy="468000"/>
            </a:xfrm>
            <a:prstGeom prst="rect">
              <a:avLst/>
            </a:prstGeom>
            <a:solidFill>
              <a:sysClr val="window" lastClr="FFFFFF"/>
            </a:solidFill>
            <a:ln w="57150" cap="flat" cmpd="sng" algn="ctr">
              <a:solidFill>
                <a:sysClr val="window" lastClr="FFFFFF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rtlCol="0" anchor="ctr"/>
            <a:lstStyle>
              <a:defPPr>
                <a:defRPr lang="en-US"/>
              </a:defPPr>
              <a:lvl1pPr algn="ctr">
                <a:defRPr sz="1400">
                  <a:solidFill>
                    <a:srgbClr val="FF0000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3" name="Picture 7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44198" y="3731861"/>
              <a:ext cx="779732" cy="39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6" name="Text Box 13"/>
          <p:cNvSpPr txBox="1">
            <a:spLocks noChangeArrowheads="1"/>
          </p:cNvSpPr>
          <p:nvPr/>
        </p:nvSpPr>
        <p:spPr bwMode="auto">
          <a:xfrm>
            <a:off x="8373327" y="6342414"/>
            <a:ext cx="275379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rIns="0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t>Quelle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t>: DEBRIV –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t>Braunkohlenverband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t>, Stand: 02/2023</a:t>
            </a:r>
          </a:p>
        </p:txBody>
      </p:sp>
      <p:sp>
        <p:nvSpPr>
          <p:cNvPr id="87" name="Text Box 29"/>
          <p:cNvSpPr txBox="1">
            <a:spLocks noChangeArrowheads="1"/>
          </p:cNvSpPr>
          <p:nvPr/>
        </p:nvSpPr>
        <p:spPr bwMode="auto">
          <a:xfrm>
            <a:off x="863588" y="1896289"/>
            <a:ext cx="1969034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t>130,8 Mio. t</a:t>
            </a:r>
          </a:p>
        </p:txBody>
      </p:sp>
      <p:sp>
        <p:nvSpPr>
          <p:cNvPr id="88" name="Text Box 30"/>
          <p:cNvSpPr txBox="1">
            <a:spLocks noChangeArrowheads="1"/>
          </p:cNvSpPr>
          <p:nvPr/>
        </p:nvSpPr>
        <p:spPr bwMode="auto">
          <a:xfrm>
            <a:off x="150303" y="2018526"/>
            <a:ext cx="72548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t>gesamt:</a:t>
            </a:r>
          </a:p>
        </p:txBody>
      </p:sp>
      <p:sp>
        <p:nvSpPr>
          <p:cNvPr id="89" name="Line 31"/>
          <p:cNvSpPr>
            <a:spLocks noChangeShapeType="1"/>
          </p:cNvSpPr>
          <p:nvPr/>
        </p:nvSpPr>
        <p:spPr bwMode="auto">
          <a:xfrm>
            <a:off x="0" y="2286000"/>
            <a:ext cx="233975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9C314A-EA74-0CC1-F590-6CB5D2426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7479BBA-91AC-6928-E703-6B8525F70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16585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9" imgW="347" imgH="348" progId="TCLayout.ActiveDocument.1">
                  <p:embed/>
                </p:oleObj>
              </mc:Choice>
              <mc:Fallback>
                <p:oleObj name="think-cell Folie" r:id="rId19" imgW="347" imgH="34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Politisches Ziel und Status Quo: EE-Anteil am Bruttostromverbrauch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6753486" y="1026826"/>
            <a:ext cx="47431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/>
              <a:t>Anteil erneuerbarer Energien am Bruttostromverbrauch: Ist-2022</a:t>
            </a:r>
            <a:r>
              <a:rPr lang="de-DE" sz="1600" b="1" baseline="30000" dirty="0"/>
              <a:t>* </a:t>
            </a:r>
            <a:r>
              <a:rPr lang="de-DE" sz="1600" b="1" dirty="0"/>
              <a:t>und Soll-2030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746827" y="1026825"/>
            <a:ext cx="40655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/>
              <a:t>Zielerklärung der Ampel-Regierung für den Bruttostromverbrauch 2030</a:t>
            </a:r>
          </a:p>
        </p:txBody>
      </p:sp>
      <p:graphicFrame>
        <p:nvGraphicFramePr>
          <p:cNvPr id="219" name="Chart 3"/>
          <p:cNvGraphicFramePr/>
          <p:nvPr>
            <p:custDataLst>
              <p:tags r:id="rId2"/>
            </p:custDataLst>
          </p:nvPr>
        </p:nvGraphicFramePr>
        <p:xfrm>
          <a:off x="1077913" y="1781175"/>
          <a:ext cx="3705225" cy="3705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12" name="Rechteck 11"/>
          <p:cNvSpPr/>
          <p:nvPr>
            <p:custDataLst>
              <p:tags r:id="rId3"/>
            </p:custDataLst>
          </p:nvPr>
        </p:nvSpPr>
        <p:spPr bwMode="auto">
          <a:xfrm>
            <a:off x="4511675" y="6000750"/>
            <a:ext cx="250825" cy="187325"/>
          </a:xfrm>
          <a:prstGeom prst="rect">
            <a:avLst/>
          </a:prstGeom>
          <a:solidFill>
            <a:srgbClr val="808080"/>
          </a:solidFill>
          <a:ln w="381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/>
          <p:cNvSpPr/>
          <p:nvPr>
            <p:custDataLst>
              <p:tags r:id="rId4"/>
            </p:custDataLst>
          </p:nvPr>
        </p:nvSpPr>
        <p:spPr bwMode="auto">
          <a:xfrm>
            <a:off x="4511675" y="5737225"/>
            <a:ext cx="250825" cy="187325"/>
          </a:xfrm>
          <a:prstGeom prst="rect">
            <a:avLst/>
          </a:prstGeom>
          <a:solidFill>
            <a:schemeClr val="accent1"/>
          </a:solidFill>
          <a:ln w="381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813300" y="5732463"/>
            <a:ext cx="2216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8D74DBA2-F5D9-4F2B-9A7F-8430EE6DCC29}" type="datetime'''''Ante''''il ''er''''neu''e''rba''re'' E''ne''r''''gi''''en'">
              <a:rPr lang="de-DE" altLang="en-US" sz="1400" smtClean="0"/>
              <a:pPr/>
              <a:t>Anteil erneuerbare Energien</a:t>
            </a:fld>
            <a:endParaRPr lang="de-DE" sz="1400" dirty="0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813300" y="5995988"/>
            <a:ext cx="23860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7A73E7A0-9DE5-4E98-9307-AA300DF24947}" type="datetime'An''teil'' k''''''onve''''ntion''''e''''lle Ene''r''gi''e''n'">
              <a:rPr lang="de-DE" altLang="en-US" sz="1400" smtClean="0"/>
              <a:pPr/>
              <a:t>Anteil konventionelle Energien</a:t>
            </a:fld>
            <a:endParaRPr lang="de-DE" sz="1400" dirty="0"/>
          </a:p>
        </p:txBody>
      </p:sp>
      <p:sp>
        <p:nvSpPr>
          <p:cNvPr id="54" name="Textfeld 53"/>
          <p:cNvSpPr txBox="1"/>
          <p:nvPr/>
        </p:nvSpPr>
        <p:spPr>
          <a:xfrm>
            <a:off x="10446397" y="6454571"/>
            <a:ext cx="176567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* Quelle: BDEW, vorläufige Zahlen</a:t>
            </a:r>
          </a:p>
        </p:txBody>
      </p:sp>
      <p:graphicFrame>
        <p:nvGraphicFramePr>
          <p:cNvPr id="215" name="Chart 3"/>
          <p:cNvGraphicFramePr/>
          <p:nvPr>
            <p:custDataLst>
              <p:tags r:id="rId7"/>
            </p:custDataLst>
          </p:nvPr>
        </p:nvGraphicFramePr>
        <p:xfrm>
          <a:off x="7354888" y="1906588"/>
          <a:ext cx="3983037" cy="3717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209" name="Gerader Verbinder 208"/>
          <p:cNvCxnSpPr/>
          <p:nvPr>
            <p:custDataLst>
              <p:tags r:id="rId8"/>
            </p:custDataLst>
          </p:nvPr>
        </p:nvCxnSpPr>
        <p:spPr bwMode="auto">
          <a:xfrm>
            <a:off x="8924925" y="4324350"/>
            <a:ext cx="4651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0" name="Gerader Verbinder 209"/>
          <p:cNvCxnSpPr/>
          <p:nvPr>
            <p:custDataLst>
              <p:tags r:id="rId9"/>
            </p:custDataLst>
          </p:nvPr>
        </p:nvCxnSpPr>
        <p:spPr bwMode="auto">
          <a:xfrm flipH="1">
            <a:off x="9304338" y="2698750"/>
            <a:ext cx="4667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1" name="Gerader Verbinder 210"/>
          <p:cNvCxnSpPr/>
          <p:nvPr>
            <p:custDataLst>
              <p:tags r:id="rId10"/>
            </p:custDataLst>
          </p:nvPr>
        </p:nvCxnSpPr>
        <p:spPr bwMode="auto">
          <a:xfrm flipV="1">
            <a:off x="9347200" y="2695575"/>
            <a:ext cx="0" cy="16319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6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188325" y="35306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71C7EDE0-AE4A-4052-80ED-3CB88E9F9673}" type="datetime'''''''''''''''53''''''''''''%'''''''''''''''''''''''''''''''">
              <a:rPr lang="de-DE" altLang="en-US" sz="1400" smtClean="0">
                <a:solidFill>
                  <a:schemeClr val="bg1"/>
                </a:solidFill>
              </a:rPr>
              <a:pPr/>
              <a:t>53%</a:t>
            </a:fld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098088" y="56007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82FA512-E98F-4376-9794-B092B10F02DF}" type="datetime'''2''''''''''''''''''''0''''''''3''''0'''''''''''''">
              <a:rPr lang="de-DE" altLang="en-US" sz="1400" smtClean="0"/>
              <a:pPr/>
              <a:t>2030</a:t>
            </a:fld>
            <a:endParaRPr lang="de-DE" sz="1400" dirty="0"/>
          </a:p>
        </p:txBody>
      </p:sp>
      <p:sp>
        <p:nvSpPr>
          <p:cNvPr id="111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188325" y="48260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A2D47C37-2B99-407F-ACA5-2F9CA7385DC8}" type="datetime'''''''''''''''''''''''4''''7''%'">
              <a:rPr lang="de-DE" altLang="en-US" sz="1400" smtClean="0">
                <a:solidFill>
                  <a:schemeClr val="bg1"/>
                </a:solidFill>
              </a:rPr>
              <a:pPr/>
              <a:t>47%</a:t>
            </a:fld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188325" y="56007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E784899C-81A4-4CD0-9E0C-96D1122240F7}" type="datetime'''''''''''''''''''''20''2''''''''''''''''''''''''2'''''">
              <a:rPr lang="de-DE" altLang="en-US" sz="1400" smtClean="0"/>
              <a:pPr/>
              <a:t>2022</a:t>
            </a:fld>
            <a:endParaRPr lang="de-DE" sz="1400" dirty="0"/>
          </a:p>
        </p:txBody>
      </p:sp>
      <p:sp>
        <p:nvSpPr>
          <p:cNvPr id="100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0098088" y="22367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9FEF64F-8092-4BDB-B434-324AD704E357}" type="datetime'''''''''''''''''2''''0''''''''''%'''''''''''''''''''''''''''''">
              <a:rPr lang="de-DE" altLang="en-US" sz="1400" smtClean="0">
                <a:solidFill>
                  <a:schemeClr val="bg1"/>
                </a:solidFill>
              </a:rPr>
              <a:pPr/>
              <a:t>20%</a:t>
            </a:fld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95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098088" y="40132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9360F1D-9CA1-408A-80DA-858FAC962FCC}" type="datetime'''''''8''0''''''''''''''''''''''''''%'''''''">
              <a:rPr lang="de-DE" altLang="en-US" sz="1400" smtClean="0">
                <a:solidFill>
                  <a:schemeClr val="bg1"/>
                </a:solidFill>
              </a:rPr>
              <a:pPr/>
              <a:t>80%</a:t>
            </a:fld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08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953500" y="3403600"/>
            <a:ext cx="78898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546201A-A9DD-4C19-ACEE-6E49E0404244}" type="datetime'''''''+''''''''''''''''''1''33''%'''''''''''''''''''''''">
              <a:rPr lang="de-DE" altLang="en-US" sz="1400" b="1" smtClean="0"/>
              <a:pPr/>
              <a:t>+133%</a:t>
            </a:fld>
            <a:endParaRPr lang="de-DE" sz="1400" b="1" dirty="0"/>
          </a:p>
        </p:txBody>
      </p:sp>
      <p:sp>
        <p:nvSpPr>
          <p:cNvPr id="186" name="Textfeld 185"/>
          <p:cNvSpPr txBox="1"/>
          <p:nvPr/>
        </p:nvSpPr>
        <p:spPr>
          <a:xfrm>
            <a:off x="10980000" y="2549381"/>
            <a:ext cx="98466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00" dirty="0"/>
              <a:t>600 </a:t>
            </a:r>
            <a:r>
              <a:rPr lang="de-DE" sz="1300" dirty="0" err="1"/>
              <a:t>TWh</a:t>
            </a:r>
            <a:endParaRPr lang="de-DE" sz="1300" dirty="0"/>
          </a:p>
        </p:txBody>
      </p:sp>
      <p:sp>
        <p:nvSpPr>
          <p:cNvPr id="187" name="Textfeld 186"/>
          <p:cNvSpPr txBox="1"/>
          <p:nvPr/>
        </p:nvSpPr>
        <p:spPr>
          <a:xfrm>
            <a:off x="6862556" y="4178156"/>
            <a:ext cx="98466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00" dirty="0"/>
              <a:t>257 </a:t>
            </a:r>
            <a:r>
              <a:rPr lang="de-DE" sz="1300" dirty="0" err="1"/>
              <a:t>TWh</a:t>
            </a:r>
            <a:endParaRPr lang="de-DE" sz="1300" dirty="0"/>
          </a:p>
        </p:txBody>
      </p:sp>
      <p:sp>
        <p:nvSpPr>
          <p:cNvPr id="40" name="Textfeld 39"/>
          <p:cNvSpPr txBox="1"/>
          <p:nvPr/>
        </p:nvSpPr>
        <p:spPr>
          <a:xfrm>
            <a:off x="7915918" y="2615667"/>
            <a:ext cx="98466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00" b="1" dirty="0"/>
              <a:t>547 </a:t>
            </a:r>
            <a:r>
              <a:rPr lang="de-DE" sz="1300" b="1" dirty="0" err="1"/>
              <a:t>TWh</a:t>
            </a:r>
            <a:endParaRPr lang="de-DE" sz="1300" b="1" dirty="0"/>
          </a:p>
        </p:txBody>
      </p:sp>
      <p:sp>
        <p:nvSpPr>
          <p:cNvPr id="41" name="Textfeld 40"/>
          <p:cNvSpPr txBox="1"/>
          <p:nvPr/>
        </p:nvSpPr>
        <p:spPr>
          <a:xfrm>
            <a:off x="9808956" y="1667534"/>
            <a:ext cx="98466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00" b="1" dirty="0"/>
              <a:t>750 </a:t>
            </a:r>
            <a:r>
              <a:rPr lang="de-DE" sz="1300" b="1" dirty="0" err="1"/>
              <a:t>TWh</a:t>
            </a:r>
            <a:endParaRPr lang="de-DE" sz="1300" b="1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1.2023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BAF0B3-7768-3908-43FE-2AF94B174B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3C2A07-A99E-7141-4986-CF3DA6644E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49750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25" name="Objekt 2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Realitätscheck der energiepolitischen Ausbauziele</a:t>
            </a:r>
          </a:p>
        </p:txBody>
      </p:sp>
      <p:graphicFrame>
        <p:nvGraphicFramePr>
          <p:cNvPr id="6" name="Tabelle 5"/>
          <p:cNvGraphicFramePr>
            <a:graphicFrameLocks noGrp="1"/>
          </p:cNvGraphicFramePr>
          <p:nvPr/>
        </p:nvGraphicFramePr>
        <p:xfrm>
          <a:off x="1374175" y="1134180"/>
          <a:ext cx="9439076" cy="38386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8266">
                  <a:extLst>
                    <a:ext uri="{9D8B030D-6E8A-4147-A177-3AD203B41FA5}">
                      <a16:colId xmlns:a16="http://schemas.microsoft.com/office/drawing/2014/main" val="3334527098"/>
                    </a:ext>
                  </a:extLst>
                </a:gridCol>
                <a:gridCol w="2430270">
                  <a:extLst>
                    <a:ext uri="{9D8B030D-6E8A-4147-A177-3AD203B41FA5}">
                      <a16:colId xmlns:a16="http://schemas.microsoft.com/office/drawing/2014/main" val="1448590118"/>
                    </a:ext>
                  </a:extLst>
                </a:gridCol>
                <a:gridCol w="2430270">
                  <a:extLst>
                    <a:ext uri="{9D8B030D-6E8A-4147-A177-3AD203B41FA5}">
                      <a16:colId xmlns:a16="http://schemas.microsoft.com/office/drawing/2014/main" val="2462403772"/>
                    </a:ext>
                  </a:extLst>
                </a:gridCol>
                <a:gridCol w="2430270">
                  <a:extLst>
                    <a:ext uri="{9D8B030D-6E8A-4147-A177-3AD203B41FA5}">
                      <a16:colId xmlns:a16="http://schemas.microsoft.com/office/drawing/2014/main" val="34948244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de-DE" sz="1600" dirty="0"/>
                        <a:t>Installierte Leistung</a:t>
                      </a:r>
                    </a:p>
                  </a:txBody>
                  <a:tcPr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7AB51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2014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7AB51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202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7AB51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2030*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7AB5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7714934"/>
                  </a:ext>
                </a:extLst>
              </a:tr>
              <a:tr h="577698">
                <a:tc>
                  <a:txBody>
                    <a:bodyPr/>
                    <a:lstStyle/>
                    <a:p>
                      <a:pPr algn="r"/>
                      <a:r>
                        <a:rPr lang="de-DE" sz="1500" b="1" dirty="0">
                          <a:solidFill>
                            <a:schemeClr val="tx1"/>
                          </a:solidFill>
                        </a:rPr>
                        <a:t>PV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5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38 GW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66 GW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215 GW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277084"/>
                  </a:ext>
                </a:extLst>
              </a:tr>
              <a:tr h="577698">
                <a:tc>
                  <a:txBody>
                    <a:bodyPr/>
                    <a:lstStyle/>
                    <a:p>
                      <a:pPr algn="r"/>
                      <a:r>
                        <a:rPr lang="de-DE" sz="1500" b="1" dirty="0">
                          <a:solidFill>
                            <a:schemeClr val="tx1"/>
                          </a:solidFill>
                        </a:rPr>
                        <a:t>Wind </a:t>
                      </a:r>
                      <a:r>
                        <a:rPr lang="de-DE" sz="1500" b="1" dirty="0" err="1">
                          <a:solidFill>
                            <a:schemeClr val="tx1"/>
                          </a:solidFill>
                        </a:rPr>
                        <a:t>Onshore</a:t>
                      </a:r>
                      <a:endParaRPr lang="de-DE" sz="15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3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38 GW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58 GW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115 GW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8544330"/>
                  </a:ext>
                </a:extLst>
              </a:tr>
              <a:tr h="577698">
                <a:tc>
                  <a:txBody>
                    <a:bodyPr/>
                    <a:lstStyle/>
                    <a:p>
                      <a:pPr algn="r"/>
                      <a:r>
                        <a:rPr lang="de-DE" sz="1500" b="1" dirty="0">
                          <a:solidFill>
                            <a:schemeClr val="tx1"/>
                          </a:solidFill>
                        </a:rPr>
                        <a:t>Wind Offshore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5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1 GW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8 GW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30 GW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4876258"/>
                  </a:ext>
                </a:extLst>
              </a:tr>
              <a:tr h="577698">
                <a:tc>
                  <a:txBody>
                    <a:bodyPr/>
                    <a:lstStyle/>
                    <a:p>
                      <a:pPr algn="r"/>
                      <a:r>
                        <a:rPr lang="de-DE" sz="1500" b="1" dirty="0">
                          <a:solidFill>
                            <a:schemeClr val="tx1"/>
                          </a:solidFill>
                        </a:rPr>
                        <a:t>Elektrolyse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3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x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0,07 GW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13 GW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3753749"/>
                  </a:ext>
                </a:extLst>
              </a:tr>
              <a:tr h="579333">
                <a:tc>
                  <a:txBody>
                    <a:bodyPr/>
                    <a:lstStyle/>
                    <a:p>
                      <a:pPr algn="r"/>
                      <a:r>
                        <a:rPr lang="de-DE" sz="1500" b="1" baseline="0" dirty="0">
                          <a:solidFill>
                            <a:schemeClr val="tx1"/>
                          </a:solidFill>
                        </a:rPr>
                        <a:t>Gas</a:t>
                      </a:r>
                      <a:endParaRPr lang="de-DE" sz="15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5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29 GW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31 GW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51</a:t>
                      </a:r>
                      <a:r>
                        <a:rPr lang="de-DE" sz="1600" baseline="0" dirty="0"/>
                        <a:t> GW</a:t>
                      </a:r>
                      <a:endParaRPr lang="de-DE" sz="160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202579"/>
                  </a:ext>
                </a:extLst>
              </a:tr>
              <a:tr h="577698">
                <a:tc>
                  <a:txBody>
                    <a:bodyPr/>
                    <a:lstStyle/>
                    <a:p>
                      <a:pPr algn="r"/>
                      <a:r>
                        <a:rPr lang="de-DE" sz="1500" b="1" dirty="0">
                          <a:solidFill>
                            <a:schemeClr val="tx1"/>
                          </a:solidFill>
                        </a:rPr>
                        <a:t>Biomasse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CF3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7 GW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9 GW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16 GW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84267507"/>
                  </a:ext>
                </a:extLst>
              </a:tr>
            </a:tbl>
          </a:graphicData>
        </a:graphic>
      </p:graphicFrame>
      <p:sp>
        <p:nvSpPr>
          <p:cNvPr id="28" name="Textfeld 27"/>
          <p:cNvSpPr txBox="1"/>
          <p:nvPr/>
        </p:nvSpPr>
        <p:spPr>
          <a:xfrm>
            <a:off x="9394612" y="6453556"/>
            <a:ext cx="27973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elle: BDEW, Nationale Wasserstoffstrategie, </a:t>
            </a:r>
            <a:r>
              <a:rPr kumimoji="0" lang="de-DE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NetzA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5822787" y="6469137"/>
            <a:ext cx="47634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Annahmen gem. </a:t>
            </a:r>
            <a:r>
              <a:rPr kumimoji="0" lang="de-DE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itoringbericht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zur Versorgungssicherheit, </a:t>
            </a:r>
            <a:r>
              <a:rPr kumimoji="0" lang="de-DE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NetzA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1.11.2023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" name="Gruppieren 8"/>
          <p:cNvGrpSpPr/>
          <p:nvPr/>
        </p:nvGrpSpPr>
        <p:grpSpPr>
          <a:xfrm>
            <a:off x="5475699" y="1509200"/>
            <a:ext cx="3555782" cy="3433998"/>
            <a:chOff x="5476896" y="1485095"/>
            <a:chExt cx="3555782" cy="3433998"/>
          </a:xfrm>
        </p:grpSpPr>
        <p:sp>
          <p:nvSpPr>
            <p:cNvPr id="33" name="Pfeil nach rechts 32"/>
            <p:cNvSpPr/>
            <p:nvPr/>
          </p:nvSpPr>
          <p:spPr>
            <a:xfrm>
              <a:off x="5498121" y="1490412"/>
              <a:ext cx="1080000" cy="540000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Textfeld 36"/>
            <p:cNvSpPr txBox="1"/>
            <p:nvPr/>
          </p:nvSpPr>
          <p:spPr>
            <a:xfrm>
              <a:off x="5476896" y="1616596"/>
              <a:ext cx="111891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 74 %</a:t>
              </a:r>
            </a:p>
          </p:txBody>
        </p:sp>
        <p:sp>
          <p:nvSpPr>
            <p:cNvPr id="34" name="Pfeil nach rechts 33"/>
            <p:cNvSpPr/>
            <p:nvPr/>
          </p:nvSpPr>
          <p:spPr>
            <a:xfrm>
              <a:off x="5498122" y="2071368"/>
              <a:ext cx="1080000" cy="540000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Textfeld 13"/>
            <p:cNvSpPr txBox="1"/>
            <p:nvPr/>
          </p:nvSpPr>
          <p:spPr>
            <a:xfrm>
              <a:off x="5476896" y="2213315"/>
              <a:ext cx="112419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 53 %</a:t>
              </a:r>
            </a:p>
          </p:txBody>
        </p:sp>
        <p:sp>
          <p:nvSpPr>
            <p:cNvPr id="35" name="Pfeil nach rechts 34"/>
            <p:cNvSpPr/>
            <p:nvPr/>
          </p:nvSpPr>
          <p:spPr>
            <a:xfrm>
              <a:off x="5498121" y="2640070"/>
              <a:ext cx="1080000" cy="540000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Textfeld 37"/>
            <p:cNvSpPr txBox="1"/>
            <p:nvPr/>
          </p:nvSpPr>
          <p:spPr>
            <a:xfrm>
              <a:off x="5513411" y="2776513"/>
              <a:ext cx="108220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 700 %</a:t>
              </a:r>
            </a:p>
          </p:txBody>
        </p:sp>
        <p:sp>
          <p:nvSpPr>
            <p:cNvPr id="36" name="Pfeil nach rechts 35"/>
            <p:cNvSpPr/>
            <p:nvPr/>
          </p:nvSpPr>
          <p:spPr>
            <a:xfrm>
              <a:off x="5517476" y="3797454"/>
              <a:ext cx="1080000" cy="540000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Textfeld 12"/>
            <p:cNvSpPr txBox="1"/>
            <p:nvPr/>
          </p:nvSpPr>
          <p:spPr>
            <a:xfrm>
              <a:off x="5509392" y="3951922"/>
              <a:ext cx="108220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 7 %</a:t>
              </a:r>
            </a:p>
          </p:txBody>
        </p:sp>
        <p:sp>
          <p:nvSpPr>
            <p:cNvPr id="41" name="Pfeil nach rechts 40"/>
            <p:cNvSpPr/>
            <p:nvPr/>
          </p:nvSpPr>
          <p:spPr>
            <a:xfrm>
              <a:off x="5517476" y="4379093"/>
              <a:ext cx="1080000" cy="540000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5517475" y="4509412"/>
              <a:ext cx="111297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 29 %</a:t>
              </a:r>
            </a:p>
          </p:txBody>
        </p:sp>
        <p:sp>
          <p:nvSpPr>
            <p:cNvPr id="42" name="Pfeil nach rechts 41"/>
            <p:cNvSpPr/>
            <p:nvPr/>
          </p:nvSpPr>
          <p:spPr>
            <a:xfrm>
              <a:off x="7951185" y="1485095"/>
              <a:ext cx="1080000" cy="540000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Pfeil nach rechts 42"/>
            <p:cNvSpPr/>
            <p:nvPr/>
          </p:nvSpPr>
          <p:spPr>
            <a:xfrm>
              <a:off x="7951185" y="2077748"/>
              <a:ext cx="1080000" cy="540000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Textfeld 39"/>
            <p:cNvSpPr txBox="1"/>
            <p:nvPr/>
          </p:nvSpPr>
          <p:spPr>
            <a:xfrm>
              <a:off x="7902859" y="2213315"/>
              <a:ext cx="110171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 98 %</a:t>
              </a:r>
            </a:p>
          </p:txBody>
        </p:sp>
        <p:sp>
          <p:nvSpPr>
            <p:cNvPr id="44" name="Pfeil nach rechts 43"/>
            <p:cNvSpPr/>
            <p:nvPr/>
          </p:nvSpPr>
          <p:spPr>
            <a:xfrm>
              <a:off x="7952678" y="2651331"/>
              <a:ext cx="1080000" cy="540000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Textfeld 15"/>
            <p:cNvSpPr txBox="1"/>
            <p:nvPr/>
          </p:nvSpPr>
          <p:spPr>
            <a:xfrm>
              <a:off x="7937662" y="2792834"/>
              <a:ext cx="109352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 275 %</a:t>
              </a:r>
            </a:p>
          </p:txBody>
        </p:sp>
        <p:sp>
          <p:nvSpPr>
            <p:cNvPr id="45" name="Pfeil nach rechts 44"/>
            <p:cNvSpPr/>
            <p:nvPr/>
          </p:nvSpPr>
          <p:spPr>
            <a:xfrm>
              <a:off x="7951185" y="3223851"/>
              <a:ext cx="1080000" cy="540000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Textfeld 50"/>
            <p:cNvSpPr txBox="1"/>
            <p:nvPr/>
          </p:nvSpPr>
          <p:spPr>
            <a:xfrm>
              <a:off x="7918208" y="3349154"/>
              <a:ext cx="108960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 18.500 %</a:t>
              </a:r>
            </a:p>
          </p:txBody>
        </p:sp>
        <p:sp>
          <p:nvSpPr>
            <p:cNvPr id="46" name="Pfeil nach rechts 45"/>
            <p:cNvSpPr/>
            <p:nvPr/>
          </p:nvSpPr>
          <p:spPr>
            <a:xfrm>
              <a:off x="7951185" y="3797454"/>
              <a:ext cx="1080000" cy="540000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Pfeil nach rechts 46"/>
            <p:cNvSpPr/>
            <p:nvPr/>
          </p:nvSpPr>
          <p:spPr>
            <a:xfrm>
              <a:off x="7951185" y="4379093"/>
              <a:ext cx="1080000" cy="540000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Textfeld 19"/>
            <p:cNvSpPr txBox="1"/>
            <p:nvPr/>
          </p:nvSpPr>
          <p:spPr>
            <a:xfrm>
              <a:off x="7880418" y="3928954"/>
              <a:ext cx="111030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 65 %</a:t>
              </a:r>
            </a:p>
          </p:txBody>
        </p:sp>
        <p:sp>
          <p:nvSpPr>
            <p:cNvPr id="48" name="Textfeld 47"/>
            <p:cNvSpPr txBox="1"/>
            <p:nvPr/>
          </p:nvSpPr>
          <p:spPr>
            <a:xfrm>
              <a:off x="7869938" y="4523223"/>
              <a:ext cx="111030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 78 %</a:t>
              </a:r>
            </a:p>
          </p:txBody>
        </p:sp>
        <p:sp>
          <p:nvSpPr>
            <p:cNvPr id="39" name="Textfeld 38"/>
            <p:cNvSpPr txBox="1"/>
            <p:nvPr/>
          </p:nvSpPr>
          <p:spPr>
            <a:xfrm>
              <a:off x="7889008" y="1623198"/>
              <a:ext cx="110171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 226 %</a:t>
              </a:r>
            </a:p>
          </p:txBody>
        </p:sp>
      </p:grpSp>
      <p:sp>
        <p:nvSpPr>
          <p:cNvPr id="10" name="Textfeld 9"/>
          <p:cNvSpPr txBox="1"/>
          <p:nvPr/>
        </p:nvSpPr>
        <p:spPr>
          <a:xfrm>
            <a:off x="1875936" y="5238478"/>
            <a:ext cx="92120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AB51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 Zubau in der angestrebten Größenordnung und Geschwindigkeit erscheint kaum realistisch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FAC8A57-AC90-A1F9-F952-98C6C4898D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3A8E095-FAF0-4249-5472-7187AC6C9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24</a:t>
            </a:fld>
            <a:endParaRPr lang="de-DE" dirty="0"/>
          </a:p>
        </p:txBody>
      </p:sp>
      <p:pic>
        <p:nvPicPr>
          <p:cNvPr id="4" name="Grafik 3" descr="Nach rechts zeigender Finger, Handrücken Silhouette">
            <a:extLst>
              <a:ext uri="{FF2B5EF4-FFF2-40B4-BE49-F238E27FC236}">
                <a16:creationId xmlns:a16="http://schemas.microsoft.com/office/drawing/2014/main" id="{77838B36-1E72-5E8B-6F64-EE71EB5ECB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82701" y="5153462"/>
            <a:ext cx="571755" cy="504000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CE77FD82-52FF-4397-D183-0BEB0921A7B5}"/>
              </a:ext>
            </a:extLst>
          </p:cNvPr>
          <p:cNvSpPr/>
          <p:nvPr/>
        </p:nvSpPr>
        <p:spPr>
          <a:xfrm>
            <a:off x="1185330" y="5352406"/>
            <a:ext cx="86631" cy="180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93780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482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8E02A52-5144-4B48-B9FD-7479FA575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1.2023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144E629-EFA9-4F0A-9E25-987F7B13D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578E89-9C06-4658-A711-ED91CB20C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BCBA8FF-85CE-408C-A5CC-ADEB0669A543}"/>
              </a:ext>
            </a:extLst>
          </p:cNvPr>
          <p:cNvSpPr txBox="1"/>
          <p:nvPr/>
        </p:nvSpPr>
        <p:spPr>
          <a:xfrm>
            <a:off x="1524000" y="3041023"/>
            <a:ext cx="9144000" cy="7376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108000" rIns="68580" bIns="108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4350"/>
              </a:lnSpc>
            </a:pPr>
            <a:r>
              <a:rPr lang="de-DE" sz="3300" b="1" dirty="0">
                <a:latin typeface="Arial" panose="020B0604020202020204" pitchFamily="34" charset="0"/>
                <a:cs typeface="Arial" panose="020B0604020202020204" pitchFamily="34" charset="0"/>
              </a:rPr>
              <a:t>Politik &amp; Markt</a:t>
            </a:r>
            <a:endParaRPr lang="de-DE" sz="33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6126FE1-5F83-4C7C-8054-A768A7573010}"/>
              </a:ext>
            </a:extLst>
          </p:cNvPr>
          <p:cNvSpPr/>
          <p:nvPr/>
        </p:nvSpPr>
        <p:spPr>
          <a:xfrm>
            <a:off x="3990000" y="3041023"/>
            <a:ext cx="4212000" cy="659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6126FE1-5F83-4C7C-8054-A768A7573010}"/>
              </a:ext>
            </a:extLst>
          </p:cNvPr>
          <p:cNvSpPr/>
          <p:nvPr/>
        </p:nvSpPr>
        <p:spPr>
          <a:xfrm>
            <a:off x="3990000" y="3751034"/>
            <a:ext cx="4212000" cy="659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</p:spTree>
    <p:extLst>
      <p:ext uri="{BB962C8B-B14F-4D97-AF65-F5344CB8AC3E}">
        <p14:creationId xmlns:p14="http://schemas.microsoft.com/office/powerpoint/2010/main" val="3856376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8668236-6C7C-664A-210B-34A61BB8F2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6246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668236-6C7C-664A-210B-34A61BB8F2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CAEC40B-B0B3-68E4-7A70-85DF1E18D7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Kohlekompromiss 2019 / Kohleausstiegsgesetz 2020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54C862C-9AE7-8BAE-F26A-1E7A9357A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1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EA343F-E181-8943-386E-929D27F1D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6A4A26F-ACB9-4160-5D33-8CD6AAE337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79911" y="968700"/>
            <a:ext cx="3708089" cy="5229200"/>
          </a:xfrm>
          <a:prstGeom prst="rect">
            <a:avLst/>
          </a:prstGeom>
        </p:spPr>
      </p:pic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661E7D4-95F4-8B51-7F85-CB6047F0A2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  <a:endParaRPr lang="de-DE" dirty="0"/>
          </a:p>
        </p:txBody>
      </p:sp>
      <p:pic>
        <p:nvPicPr>
          <p:cNvPr id="1026" name="Picture 2" descr="Kohleausstieg: Merkel verspricht Maßnahmengesetz vor der Sommerpause – pv  magazine Deutschland">
            <a:extLst>
              <a:ext uri="{FF2B5EF4-FFF2-40B4-BE49-F238E27FC236}">
                <a16:creationId xmlns:a16="http://schemas.microsoft.com/office/drawing/2014/main" id="{C1EBF3D3-62CB-0452-DA2C-5039037184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000" y="976419"/>
            <a:ext cx="7979597" cy="3989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B0E3EFF4-74AE-CF7A-697E-1679F6736AB0}"/>
              </a:ext>
            </a:extLst>
          </p:cNvPr>
          <p:cNvSpPr txBox="1"/>
          <p:nvPr/>
        </p:nvSpPr>
        <p:spPr>
          <a:xfrm>
            <a:off x="204000" y="5235275"/>
            <a:ext cx="9951018" cy="1308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600" b="1" dirty="0"/>
              <a:t>Kompromiss zum Kohleausstieg mit diesen Leitplanken</a:t>
            </a:r>
          </a:p>
          <a:p>
            <a:pPr marL="285750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600" dirty="0"/>
              <a:t>schrittweise, geordnet und sozialverträglich Kohleverstromung beenden</a:t>
            </a:r>
          </a:p>
          <a:p>
            <a:pPr marL="285750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600" dirty="0"/>
              <a:t>Klimaschutz, Wirtschaftlichkeit und Versorgungssicherheit gleichrangig absichern</a:t>
            </a:r>
          </a:p>
          <a:p>
            <a:pPr marL="285750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600" dirty="0"/>
              <a:t>Strukturwandel in den Regionen und Erhalt von Industriearbeitsplätzen</a:t>
            </a:r>
          </a:p>
        </p:txBody>
      </p:sp>
    </p:spTree>
    <p:extLst>
      <p:ext uri="{BB962C8B-B14F-4D97-AF65-F5344CB8AC3E}">
        <p14:creationId xmlns:p14="http://schemas.microsoft.com/office/powerpoint/2010/main" val="2685466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47" imgH="348" progId="TCLayout.ActiveDocument.1">
                  <p:embed/>
                </p:oleObj>
              </mc:Choice>
              <mc:Fallback>
                <p:oleObj name="think-cell Folie" r:id="rId28" imgW="347" imgH="348" progId="TCLayout.ActiveDocument.1">
                  <p:embed/>
                  <p:pic>
                    <p:nvPicPr>
                      <p:cNvPr id="32" name="Objekt 31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842F98D-3CF9-40F0-B668-01D1FB215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KVBG-Stilllegungspfad</a:t>
            </a:r>
          </a:p>
        </p:txBody>
      </p:sp>
      <p:graphicFrame>
        <p:nvGraphicFramePr>
          <p:cNvPr id="36" name="Chart 3"/>
          <p:cNvGraphicFramePr/>
          <p:nvPr>
            <p:custDataLst>
              <p:tags r:id="rId2"/>
            </p:custDataLst>
          </p:nvPr>
        </p:nvGraphicFramePr>
        <p:xfrm>
          <a:off x="828675" y="1538288"/>
          <a:ext cx="11110913" cy="4870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298825" y="13493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1278C41D-8F43-4E62-9C91-04DF4901AF7E}" type="datetime'''''''''''''''''''''''''''''''''20''''2''''''''''4'''''">
              <a:rPr lang="de-DE" altLang="en-US" sz="1400" b="0" smtClean="0">
                <a:solidFill>
                  <a:srgbClr val="000000"/>
                </a:solidFill>
              </a:rPr>
              <a:pPr/>
              <a:t>2024</a:t>
            </a:fld>
            <a:endParaRPr kumimoji="0" lang="de-DE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255963" y="3529013"/>
            <a:ext cx="4937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F66829BD-9397-4F69-96AF-BF4E6D0C8EC3}" type="datetime'1''''''''''''.''''''''''''''''''2''0''''''''''''0'''">
              <a:rPr lang="de-DE" altLang="en-US" sz="1400" smtClean="0">
                <a:solidFill>
                  <a:srgbClr val="000000"/>
                </a:solidFill>
              </a:rPr>
              <a:pPr/>
              <a:t>1.200</a:t>
            </a:fld>
            <a:endParaRPr lang="de-DE" sz="1400" strike="noStrike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9059863" y="13493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D4D616C6-473E-49C3-B72D-68C4342D854C}" type="datetime'''''''''''''''''''''''2''''''''''''0''''3''4'''''">
              <a:rPr lang="de-DE" altLang="en-US" sz="1400" b="0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2034</a:t>
            </a:fld>
            <a:endParaRPr kumimoji="0" lang="de-DE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95363" y="13493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30EDC2F8-9138-48E5-B445-04F5A04673F9}" type="datetime'''2''''''''''''''''''''''''0''''''2''''''''0'''''''''''''">
              <a:rPr lang="de-DE" altLang="en-US" sz="1400" b="0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2020</a:t>
            </a:fld>
            <a:endParaRPr kumimoji="0" lang="de-DE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571625" y="13493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DD548E8D-3311-47DE-BF8A-509F69686522}" type="datetime'2''0''2''''''''''''''''''''''''1'''''">
              <a:rPr lang="de-DE" altLang="en-US" sz="1400" b="0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2021</a:t>
            </a:fld>
            <a:endParaRPr kumimoji="0" lang="de-DE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147888" y="13493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21C178C0-4070-4097-830E-F3029B3C1739}" type="datetime'''''''''''2''''''0''''''2''''2'''''''''''''''''''''''''''''">
              <a:rPr lang="de-DE" altLang="en-US" sz="1400" b="0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2022</a:t>
            </a:fld>
            <a:endParaRPr kumimoji="0" lang="de-DE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875088" y="13493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4F16C7BE-EED8-4CAF-B0EE-B20EB3C6EFF5}" type="datetime'''''''''''''''''''''''''''''''''2''''''0''''''2''''5'''">
              <a:rPr lang="de-DE" altLang="en-US" sz="1400" b="0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2025</a:t>
            </a:fld>
            <a:endParaRPr kumimoji="0" lang="de-DE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603875" y="13493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764B270F-A091-41B3-889F-D2F4C4CC69E9}" type="datetime'''''''''2''''''''''02''''8'''">
              <a:rPr lang="de-DE" altLang="en-US" sz="1400" b="0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2028</a:t>
            </a:fld>
            <a:endParaRPr kumimoji="0" lang="de-DE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025525" y="211613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B00716E-92A8-4264-A5A2-263910233A6A}" type="datetime'''''''''''3''''''''''''''''''''''''''''''''''0''''''0'''">
              <a:rPr lang="de-DE" altLang="en-US" sz="1400" b="1" smtClean="0"/>
              <a:pPr/>
              <a:t>300</a:t>
            </a:fld>
            <a:endParaRPr lang="de-DE" sz="1400" b="1" dirty="0">
              <a:sym typeface="+mn-lt"/>
            </a:endParaRP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027613" y="13493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5757B293-E38E-4C72-82B0-4C1A5B95AA7B}" type="datetime'''''''''''''''''2''''''''''''0''''''''2''''''''''''''''7'">
              <a:rPr lang="de-DE" altLang="en-US" sz="1400" b="0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2027</a:t>
            </a:fld>
            <a:endParaRPr kumimoji="0" lang="de-DE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180138" y="13493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BD474818-ABBD-4C86-8A37-D4773FA24FA8}" type="datetime'''2''''''''''''''''''''''''''''''''''0''''''''''2''9'''''''''">
              <a:rPr lang="de-DE" altLang="en-US" sz="1400" b="0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2029</a:t>
            </a:fld>
            <a:endParaRPr kumimoji="0" lang="de-DE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756400" y="13493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919E6D76-B1FF-441E-A6FD-A857133FBCA7}" type="datetime'''''2''''0''''''3''''''''''''''''''''''''0'''''''''''''''">
              <a:rPr lang="de-DE" altLang="en-US" sz="1400" b="0" smtClean="0">
                <a:solidFill>
                  <a:srgbClr val="000000"/>
                </a:solidFill>
              </a:rPr>
              <a:pPr/>
              <a:t>2030</a:t>
            </a:fld>
            <a:endParaRPr kumimoji="0" lang="de-DE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636125" y="13493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85E2B5C5-16D7-4445-8C1B-B91E8CA9BD62}" type="datetime'''''''''''''''''2''''''0''''''''''3''''5'''''''''''''''''">
              <a:rPr lang="de-DE" altLang="en-US" sz="1400" b="0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2035</a:t>
            </a:fld>
            <a:endParaRPr kumimoji="0" lang="de-DE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601788" y="3057525"/>
            <a:ext cx="3460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DF14C206-0371-4DB9-8AB9-5D91952D3AE6}" type="datetime'''''''''''''''''''''''''''''''''''''''''''''90''''''''''''0'''">
              <a:rPr lang="de-DE" altLang="en-US" sz="1400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900</a:t>
            </a:fld>
            <a:endParaRPr kumimoji="0" lang="de-DE" sz="14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178050" y="2305050"/>
            <a:ext cx="3460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A1301C1A-1C2F-466D-BDA1-16F452607E1B}" type="datetime'''4''''''''2''0'''''''''''''''''''''''''''''''''''''''''''''">
              <a:rPr lang="de-DE" altLang="en-US" sz="1400" smtClean="0">
                <a:solidFill>
                  <a:srgbClr val="000000"/>
                </a:solidFill>
              </a:rPr>
              <a:pPr/>
              <a:t>420</a:t>
            </a:fld>
            <a:endParaRPr kumimoji="0" lang="de-DE" sz="14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905250" y="2900363"/>
            <a:ext cx="3460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4F2D9A8B-6216-4964-9109-5F0F6D5BB98C}" type="datetime'''''8''''''''''''''''''''0''''''''''''''''''''''''0'''">
              <a:rPr lang="de-DE" altLang="en-US" sz="1400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800</a:t>
            </a:fld>
            <a:endParaRPr kumimoji="0" lang="de-DE" sz="14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057775" y="2430463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7FA3B9C-1118-46C9-9877-150927C6B1E4}" type="datetime'''''''''''''''''''''''''''''5''''''''0''''''''''''''''''0'''''">
              <a:rPr lang="de-DE" altLang="en-US" sz="1400" b="1" smtClean="0"/>
              <a:pPr/>
              <a:t>500</a:t>
            </a:fld>
            <a:endParaRPr lang="de-DE" sz="1400" b="1" dirty="0">
              <a:sym typeface="+mn-lt"/>
            </a:endParaRP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561013" y="4156075"/>
            <a:ext cx="4937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4910CE94-64A1-4E21-A8B3-473BBAE83D66}" type="datetime'''''''''''''''''''''''''''''1''.''6''''0''''''''''''0'''">
              <a:rPr lang="de-DE" altLang="en-US" sz="1400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1.600</a:t>
            </a:fld>
            <a:endParaRPr kumimoji="0" lang="de-DE" sz="14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137275" y="6038850"/>
            <a:ext cx="4937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B6E5EB0A-EC0E-4CA4-B907-FD43EBDC75B3}" type="datetime'''2''''''.''''''''80''''''''''0'''''''''''''''''''''''''">
              <a:rPr lang="de-DE" altLang="en-US" sz="1400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2.800</a:t>
            </a:fld>
            <a:endParaRPr kumimoji="0" lang="de-DE" sz="14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713538" y="6351588"/>
            <a:ext cx="4937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4046B6F4-7583-4867-B819-7B41E1934779}" type="datetime'''''''3''''''''''''''''.''''''''''''''''''''0''00'''">
              <a:rPr lang="de-DE" altLang="en-US" sz="1400" smtClean="0">
                <a:solidFill>
                  <a:srgbClr val="000000"/>
                </a:solidFill>
              </a:rPr>
              <a:pPr/>
              <a:t>3.000</a:t>
            </a:fld>
            <a:endParaRPr lang="de-DE" sz="1400" strike="noStrike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090025" y="3057525"/>
            <a:ext cx="3460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B678607B-639B-4E7E-BADC-FE2328814E15}" type="datetime'''''''''''''''''''90''''''''0'''''''''''">
              <a:rPr lang="de-DE" altLang="en-US" sz="1400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900</a:t>
            </a:fld>
            <a:endParaRPr kumimoji="0" lang="de-DE" sz="14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9593263" y="4391025"/>
            <a:ext cx="4937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507B483F-4F46-4826-B4A2-057C97C29B0A}" type="datetime'1''''.''''7''''''''''''''''5''''''''''0'''''">
              <a:rPr lang="de-DE" altLang="en-US" sz="1400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1.750</a:t>
            </a:fld>
            <a:endParaRPr kumimoji="0" lang="de-DE" sz="14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DE8AEE7-D4E7-4C35-873B-61D25E3519E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1322050" y="6351588"/>
            <a:ext cx="4937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6F2CCF14-836E-4B94-B3A9-849E2713857F}" type="datetime'''''''''''''''''''''''3.''0''0''''0'''''''''''''''">
              <a:rPr lang="de-DE" altLang="en-US" sz="1400" smtClean="0">
                <a:solidFill>
                  <a:srgbClr val="000000"/>
                </a:solidFill>
              </a:rPr>
              <a:pPr/>
              <a:t>3.000</a:t>
            </a:fld>
            <a:endParaRPr kumimoji="0" lang="de-DE" sz="14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1884263" y="894706"/>
            <a:ext cx="18209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urze Frist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4693394" y="899950"/>
            <a:ext cx="18209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s 2030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8554977" y="905663"/>
            <a:ext cx="18209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ch 2030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439367" y="4869160"/>
            <a:ext cx="23248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>
                <a:solidFill>
                  <a:prstClr val="black"/>
                </a:solidFill>
              </a:rPr>
              <a:t>Werte in MW</a:t>
            </a:r>
            <a:endParaRPr lang="de-DE" sz="1400" dirty="0"/>
          </a:p>
        </p:txBody>
      </p:sp>
      <p:grpSp>
        <p:nvGrpSpPr>
          <p:cNvPr id="41" name="Gruppieren 40"/>
          <p:cNvGrpSpPr/>
          <p:nvPr/>
        </p:nvGrpSpPr>
        <p:grpSpPr>
          <a:xfrm>
            <a:off x="248846" y="5425672"/>
            <a:ext cx="3261116" cy="1128420"/>
            <a:chOff x="540000" y="5018870"/>
            <a:chExt cx="3261116" cy="1128420"/>
          </a:xfrm>
        </p:grpSpPr>
        <p:sp>
          <p:nvSpPr>
            <p:cNvPr id="42" name="Rechteck 41"/>
            <p:cNvSpPr/>
            <p:nvPr/>
          </p:nvSpPr>
          <p:spPr>
            <a:xfrm>
              <a:off x="540000" y="5329016"/>
              <a:ext cx="287584" cy="205010"/>
            </a:xfrm>
            <a:prstGeom prst="rect">
              <a:avLst/>
            </a:prstGeom>
            <a:pattFill prst="dkDnDiag">
              <a:fgClr>
                <a:srgbClr val="444E55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Rechteck 42"/>
            <p:cNvSpPr/>
            <p:nvPr/>
          </p:nvSpPr>
          <p:spPr>
            <a:xfrm>
              <a:off x="540000" y="5070254"/>
              <a:ext cx="287584" cy="205010"/>
            </a:xfrm>
            <a:prstGeom prst="rect">
              <a:avLst/>
            </a:prstGeom>
            <a:solidFill>
              <a:srgbClr val="444E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4" name="Rechteck 43"/>
            <p:cNvSpPr/>
            <p:nvPr/>
          </p:nvSpPr>
          <p:spPr>
            <a:xfrm>
              <a:off x="540000" y="5611813"/>
              <a:ext cx="287584" cy="205010"/>
            </a:xfrm>
            <a:prstGeom prst="rect">
              <a:avLst/>
            </a:prstGeom>
            <a:solidFill>
              <a:srgbClr val="00A7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" name="Rechteck 44"/>
            <p:cNvSpPr/>
            <p:nvPr/>
          </p:nvSpPr>
          <p:spPr>
            <a:xfrm>
              <a:off x="540000" y="5894610"/>
              <a:ext cx="287584" cy="205010"/>
            </a:xfrm>
            <a:prstGeom prst="rect">
              <a:avLst/>
            </a:prstGeom>
            <a:solidFill>
              <a:srgbClr val="7AB51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" name="Textfeld 45"/>
            <p:cNvSpPr txBox="1"/>
            <p:nvPr/>
          </p:nvSpPr>
          <p:spPr>
            <a:xfrm>
              <a:off x="941437" y="5018870"/>
              <a:ext cx="154300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dirty="0"/>
                <a:t>Rheinland</a:t>
              </a:r>
            </a:p>
          </p:txBody>
        </p:sp>
        <p:sp>
          <p:nvSpPr>
            <p:cNvPr id="47" name="Textfeld 46"/>
            <p:cNvSpPr txBox="1"/>
            <p:nvPr/>
          </p:nvSpPr>
          <p:spPr>
            <a:xfrm>
              <a:off x="950431" y="5283497"/>
              <a:ext cx="28506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dirty="0"/>
                <a:t>Rheinland vor Anpassung 2030</a:t>
              </a:r>
            </a:p>
          </p:txBody>
        </p:sp>
        <p:sp>
          <p:nvSpPr>
            <p:cNvPr id="48" name="Textfeld 47"/>
            <p:cNvSpPr txBox="1"/>
            <p:nvPr/>
          </p:nvSpPr>
          <p:spPr>
            <a:xfrm>
              <a:off x="941437" y="5560429"/>
              <a:ext cx="154300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dirty="0"/>
                <a:t>Lausitz</a:t>
              </a:r>
            </a:p>
          </p:txBody>
        </p:sp>
        <p:sp>
          <p:nvSpPr>
            <p:cNvPr id="49" name="Textfeld 48"/>
            <p:cNvSpPr txBox="1"/>
            <p:nvPr/>
          </p:nvSpPr>
          <p:spPr>
            <a:xfrm>
              <a:off x="941437" y="5839513"/>
              <a:ext cx="177894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dirty="0"/>
                <a:t>Mitteldeutschland</a:t>
              </a: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10659281" y="1627672"/>
            <a:ext cx="684000" cy="4698000"/>
            <a:chOff x="8115249" y="1529524"/>
            <a:chExt cx="544934" cy="3798000"/>
          </a:xfrm>
        </p:grpSpPr>
        <p:sp>
          <p:nvSpPr>
            <p:cNvPr id="51" name="Rechteck 50"/>
            <p:cNvSpPr/>
            <p:nvPr/>
          </p:nvSpPr>
          <p:spPr>
            <a:xfrm>
              <a:off x="8312316" y="1529524"/>
              <a:ext cx="342000" cy="3798000"/>
            </a:xfrm>
            <a:prstGeom prst="rect">
              <a:avLst/>
            </a:prstGeom>
            <a:pattFill prst="dkDnDiag">
              <a:fgClr>
                <a:srgbClr val="444E54"/>
              </a:fgClr>
              <a:bgClr>
                <a:schemeClr val="bg1"/>
              </a:bgClr>
            </a:pattFill>
            <a:ln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52" name="Gerader Verbinder 51"/>
            <p:cNvCxnSpPr/>
            <p:nvPr/>
          </p:nvCxnSpPr>
          <p:spPr>
            <a:xfrm>
              <a:off x="8115249" y="2782076"/>
              <a:ext cx="544934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/>
            <p:cNvCxnSpPr/>
            <p:nvPr/>
          </p:nvCxnSpPr>
          <p:spPr>
            <a:xfrm>
              <a:off x="8115249" y="4038678"/>
              <a:ext cx="544934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4" name="Gerade Verbindung mit Pfeil 53"/>
          <p:cNvCxnSpPr/>
          <p:nvPr/>
        </p:nvCxnSpPr>
        <p:spPr>
          <a:xfrm flipH="1">
            <a:off x="7299458" y="5683912"/>
            <a:ext cx="3564000" cy="0"/>
          </a:xfrm>
          <a:prstGeom prst="straightConnector1">
            <a:avLst/>
          </a:prstGeom>
          <a:ln w="12700">
            <a:solidFill>
              <a:srgbClr val="444E5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feld 54"/>
          <p:cNvSpPr txBox="1"/>
          <p:nvPr/>
        </p:nvSpPr>
        <p:spPr>
          <a:xfrm>
            <a:off x="8787069" y="5423537"/>
            <a:ext cx="11341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- 8 Jahre</a:t>
            </a:r>
          </a:p>
        </p:txBody>
      </p:sp>
      <p:grpSp>
        <p:nvGrpSpPr>
          <p:cNvPr id="57" name="Gruppieren 56"/>
          <p:cNvGrpSpPr/>
          <p:nvPr/>
        </p:nvGrpSpPr>
        <p:grpSpPr>
          <a:xfrm>
            <a:off x="2021385" y="2523921"/>
            <a:ext cx="684000" cy="1872000"/>
            <a:chOff x="1074738" y="2305208"/>
            <a:chExt cx="544934" cy="1550036"/>
          </a:xfrm>
          <a:pattFill prst="dkDnDiag">
            <a:fgClr>
              <a:srgbClr val="444E54"/>
            </a:fgClr>
            <a:bgClr>
              <a:schemeClr val="bg1"/>
            </a:bgClr>
          </a:pattFill>
        </p:grpSpPr>
        <p:sp>
          <p:nvSpPr>
            <p:cNvPr id="58" name="Rechteck 57"/>
            <p:cNvSpPr/>
            <p:nvPr/>
          </p:nvSpPr>
          <p:spPr>
            <a:xfrm>
              <a:off x="1174095" y="2305208"/>
              <a:ext cx="342000" cy="1550036"/>
            </a:xfrm>
            <a:prstGeom prst="rect">
              <a:avLst/>
            </a:prstGeom>
            <a:grpFill/>
            <a:ln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59" name="Gerader Verbinder 58"/>
            <p:cNvCxnSpPr/>
            <p:nvPr/>
          </p:nvCxnSpPr>
          <p:spPr>
            <a:xfrm>
              <a:off x="1074738" y="3073037"/>
              <a:ext cx="544934" cy="0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Textfeld 61"/>
          <p:cNvSpPr txBox="1"/>
          <p:nvPr/>
        </p:nvSpPr>
        <p:spPr>
          <a:xfrm>
            <a:off x="2481276" y="2618248"/>
            <a:ext cx="81755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b="1" dirty="0"/>
              <a:t>+ 15 Monate</a:t>
            </a:r>
          </a:p>
        </p:txBody>
      </p:sp>
      <p:cxnSp>
        <p:nvCxnSpPr>
          <p:cNvPr id="65" name="Gerade Verbindung mit Pfeil 64"/>
          <p:cNvCxnSpPr/>
          <p:nvPr/>
        </p:nvCxnSpPr>
        <p:spPr>
          <a:xfrm>
            <a:off x="2622255" y="3006725"/>
            <a:ext cx="612000" cy="0"/>
          </a:xfrm>
          <a:prstGeom prst="straightConnector1">
            <a:avLst/>
          </a:prstGeom>
          <a:ln w="12700">
            <a:solidFill>
              <a:srgbClr val="444E5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Gruppieren 65"/>
          <p:cNvGrpSpPr/>
          <p:nvPr/>
        </p:nvGrpSpPr>
        <p:grpSpPr>
          <a:xfrm>
            <a:off x="7332345" y="1630134"/>
            <a:ext cx="432000" cy="1386000"/>
            <a:chOff x="5074250" y="1574380"/>
            <a:chExt cx="346075" cy="706565"/>
          </a:xfrm>
        </p:grpSpPr>
        <p:cxnSp>
          <p:nvCxnSpPr>
            <p:cNvPr id="67" name="Gerader Verbinder 66"/>
            <p:cNvCxnSpPr/>
            <p:nvPr/>
          </p:nvCxnSpPr>
          <p:spPr>
            <a:xfrm>
              <a:off x="5416023" y="1574380"/>
              <a:ext cx="0" cy="700215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/>
            <p:cNvCxnSpPr/>
            <p:nvPr/>
          </p:nvCxnSpPr>
          <p:spPr>
            <a:xfrm>
              <a:off x="5076056" y="1574883"/>
              <a:ext cx="0" cy="700215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/>
            <p:cNvCxnSpPr/>
            <p:nvPr/>
          </p:nvCxnSpPr>
          <p:spPr>
            <a:xfrm>
              <a:off x="5074250" y="2280442"/>
              <a:ext cx="346075" cy="503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Gruppieren 69"/>
          <p:cNvGrpSpPr/>
          <p:nvPr/>
        </p:nvGrpSpPr>
        <p:grpSpPr>
          <a:xfrm>
            <a:off x="7943351" y="1612851"/>
            <a:ext cx="432000" cy="2713313"/>
            <a:chOff x="5074250" y="1574380"/>
            <a:chExt cx="346075" cy="706565"/>
          </a:xfrm>
        </p:grpSpPr>
        <p:cxnSp>
          <p:nvCxnSpPr>
            <p:cNvPr id="71" name="Gerader Verbinder 70"/>
            <p:cNvCxnSpPr/>
            <p:nvPr/>
          </p:nvCxnSpPr>
          <p:spPr>
            <a:xfrm>
              <a:off x="5416023" y="1574380"/>
              <a:ext cx="0" cy="700215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/>
            <p:cNvCxnSpPr/>
            <p:nvPr/>
          </p:nvCxnSpPr>
          <p:spPr>
            <a:xfrm>
              <a:off x="5076056" y="1574883"/>
              <a:ext cx="0" cy="700215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/>
            <p:cNvCxnSpPr/>
            <p:nvPr/>
          </p:nvCxnSpPr>
          <p:spPr>
            <a:xfrm>
              <a:off x="5074250" y="2280442"/>
              <a:ext cx="346075" cy="503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4" name="Gerade Verbindung mit Pfeil 73"/>
          <p:cNvCxnSpPr/>
          <p:nvPr/>
        </p:nvCxnSpPr>
        <p:spPr>
          <a:xfrm flipH="1">
            <a:off x="7562130" y="2323134"/>
            <a:ext cx="1440000" cy="0"/>
          </a:xfrm>
          <a:prstGeom prst="straightConnector1">
            <a:avLst/>
          </a:prstGeom>
          <a:ln w="1270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/>
          <p:cNvCxnSpPr/>
          <p:nvPr/>
        </p:nvCxnSpPr>
        <p:spPr>
          <a:xfrm flipH="1">
            <a:off x="8201059" y="3356992"/>
            <a:ext cx="1440000" cy="0"/>
          </a:xfrm>
          <a:prstGeom prst="straightConnector1">
            <a:avLst/>
          </a:prstGeom>
          <a:ln w="1270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feld 78"/>
          <p:cNvSpPr txBox="1"/>
          <p:nvPr/>
        </p:nvSpPr>
        <p:spPr>
          <a:xfrm>
            <a:off x="7250947" y="1297382"/>
            <a:ext cx="6023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31</a:t>
            </a:r>
          </a:p>
        </p:txBody>
      </p:sp>
      <p:sp>
        <p:nvSpPr>
          <p:cNvPr id="80" name="Textfeld 79"/>
          <p:cNvSpPr txBox="1"/>
          <p:nvPr/>
        </p:nvSpPr>
        <p:spPr>
          <a:xfrm>
            <a:off x="7858110" y="1297382"/>
            <a:ext cx="6023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32</a:t>
            </a:r>
          </a:p>
        </p:txBody>
      </p:sp>
      <p:sp>
        <p:nvSpPr>
          <p:cNvPr id="83" name="Textfeld 82"/>
          <p:cNvSpPr txBox="1"/>
          <p:nvPr/>
        </p:nvSpPr>
        <p:spPr>
          <a:xfrm>
            <a:off x="8433437" y="3930137"/>
            <a:ext cx="14041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W </a:t>
            </a:r>
            <a:r>
              <a:rPr kumimoji="0" lang="de-DE" sz="11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hkopau</a:t>
            </a:r>
            <a:endParaRPr kumimoji="0" lang="de-DE" sz="11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4" name="Gruppieren 83"/>
          <p:cNvGrpSpPr/>
          <p:nvPr/>
        </p:nvGrpSpPr>
        <p:grpSpPr>
          <a:xfrm>
            <a:off x="9248302" y="3460935"/>
            <a:ext cx="172" cy="432000"/>
            <a:chOff x="6953989" y="3020360"/>
            <a:chExt cx="172" cy="843473"/>
          </a:xfrm>
        </p:grpSpPr>
        <p:cxnSp>
          <p:nvCxnSpPr>
            <p:cNvPr id="85" name="Gerader Verbinder 84"/>
            <p:cNvCxnSpPr/>
            <p:nvPr/>
          </p:nvCxnSpPr>
          <p:spPr>
            <a:xfrm flipH="1">
              <a:off x="6953989" y="3258444"/>
              <a:ext cx="172" cy="60538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mit Pfeil 85"/>
            <p:cNvCxnSpPr/>
            <p:nvPr/>
          </p:nvCxnSpPr>
          <p:spPr>
            <a:xfrm flipV="1">
              <a:off x="6954149" y="3020360"/>
              <a:ext cx="0" cy="310605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9" name="Textfeld 88"/>
          <p:cNvSpPr txBox="1"/>
          <p:nvPr/>
        </p:nvSpPr>
        <p:spPr>
          <a:xfrm>
            <a:off x="9185791" y="4890057"/>
            <a:ext cx="14041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W Lippendorf</a:t>
            </a:r>
          </a:p>
        </p:txBody>
      </p:sp>
      <p:grpSp>
        <p:nvGrpSpPr>
          <p:cNvPr id="90" name="Gruppieren 89"/>
          <p:cNvGrpSpPr/>
          <p:nvPr/>
        </p:nvGrpSpPr>
        <p:grpSpPr>
          <a:xfrm>
            <a:off x="9838508" y="4624721"/>
            <a:ext cx="172" cy="252000"/>
            <a:chOff x="6953989" y="3020360"/>
            <a:chExt cx="172" cy="843473"/>
          </a:xfrm>
        </p:grpSpPr>
        <p:cxnSp>
          <p:nvCxnSpPr>
            <p:cNvPr id="91" name="Gerader Verbinder 90"/>
            <p:cNvCxnSpPr/>
            <p:nvPr/>
          </p:nvCxnSpPr>
          <p:spPr>
            <a:xfrm flipH="1">
              <a:off x="6953989" y="3258444"/>
              <a:ext cx="172" cy="60538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mit Pfeil 91"/>
            <p:cNvCxnSpPr/>
            <p:nvPr/>
          </p:nvCxnSpPr>
          <p:spPr>
            <a:xfrm flipV="1">
              <a:off x="6954149" y="3020360"/>
              <a:ext cx="0" cy="310605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7" name="Textfeld 96"/>
          <p:cNvSpPr txBox="1"/>
          <p:nvPr/>
        </p:nvSpPr>
        <p:spPr>
          <a:xfrm>
            <a:off x="11038227" y="1293789"/>
            <a:ext cx="7297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2038</a:t>
            </a:r>
          </a:p>
        </p:txBody>
      </p:sp>
      <p:sp>
        <p:nvSpPr>
          <p:cNvPr id="3" name="AutoShape 8" descr="https://euc-powerpoint.officeapps.live.com/pods/GetClipboardImage.ashx?Id=b738e55e-b2b2-4c1e-8574-ac83fa2bf4d2&amp;DC=GEU6&amp;pkey=353868b7-da46-487b-ba3a-1cb529e9a679&amp;wdwaccluster=GEU6"/>
          <p:cNvSpPr>
            <a:spLocks noChangeAspect="1" noChangeArrowheads="1"/>
          </p:cNvSpPr>
          <p:nvPr/>
        </p:nvSpPr>
        <p:spPr bwMode="auto">
          <a:xfrm>
            <a:off x="21272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" name="AutoShape 10" descr="https://euc-powerpoint.officeapps.live.com/pods/GetClipboardImage.ashx?Id=b738e55e-b2b2-4c1e-8574-ac83fa2bf4d2&amp;DC=GEU6&amp;pkey=353868b7-da46-487b-ba3a-1cb529e9a679&amp;wdwaccluster=GEU6"/>
          <p:cNvSpPr>
            <a:spLocks noChangeAspect="1" noChangeArrowheads="1"/>
          </p:cNvSpPr>
          <p:nvPr/>
        </p:nvSpPr>
        <p:spPr bwMode="auto">
          <a:xfrm>
            <a:off x="36512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5" name="AutoShape 12" descr="https://euc-powerpoint.officeapps.live.com/pods/GetClipboardImage.ashx?Id=8a13a9b8-a933-4780-90eb-5f212158bf43&amp;DC=GEU6&amp;pkey=bf06615d-62ea-45e3-9787-fda6a2c93a06&amp;wdwaccluster=GEU6"/>
          <p:cNvSpPr>
            <a:spLocks noChangeAspect="1" noChangeArrowheads="1"/>
          </p:cNvSpPr>
          <p:nvPr/>
        </p:nvSpPr>
        <p:spPr bwMode="auto">
          <a:xfrm>
            <a:off x="51752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7" name="Textfeld 76"/>
          <p:cNvSpPr txBox="1"/>
          <p:nvPr/>
        </p:nvSpPr>
        <p:spPr>
          <a:xfrm>
            <a:off x="9241805" y="6459383"/>
            <a:ext cx="187164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800" dirty="0"/>
              <a:t>Quelle: KVBG, eigene Darstellung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1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021AA4-A899-87E6-BF7C-305981CCD7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  <a:endParaRPr lang="de-DE" dirty="0"/>
          </a:p>
        </p:txBody>
      </p:sp>
      <p:sp>
        <p:nvSpPr>
          <p:cNvPr id="31" name="Foliennummernplatzhalter 30">
            <a:extLst>
              <a:ext uri="{FF2B5EF4-FFF2-40B4-BE49-F238E27FC236}">
                <a16:creationId xmlns:a16="http://schemas.microsoft.com/office/drawing/2014/main" id="{8756DF30-8952-6705-A94F-6DACA8DAAA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63775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1DF054CD-1039-399A-BD4D-F13FCDA485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8441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F054CD-1039-399A-BD4D-F13FCDA485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feld 29">
            <a:extLst>
              <a:ext uri="{FF2B5EF4-FFF2-40B4-BE49-F238E27FC236}">
                <a16:creationId xmlns:a16="http://schemas.microsoft.com/office/drawing/2014/main" id="{9BCCBEF0-1F12-8197-BDEC-D8354E8F1C07}"/>
              </a:ext>
            </a:extLst>
          </p:cNvPr>
          <p:cNvSpPr txBox="1"/>
          <p:nvPr/>
        </p:nvSpPr>
        <p:spPr>
          <a:xfrm>
            <a:off x="112830" y="4932930"/>
            <a:ext cx="136994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b="1" dirty="0"/>
              <a:t>2019</a:t>
            </a:r>
          </a:p>
          <a:p>
            <a:pPr algn="ctr"/>
            <a:r>
              <a:rPr lang="de-DE" sz="1100" dirty="0"/>
              <a:t>Abschlussbericht Kohlekommissi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842F98D-3CF9-40F0-B668-01D1FB215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Energiepolitische Weichenstellungen und Wegmarken seit 2019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8E02A52-5144-4B48-B9FD-7479FA575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1.202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578E89-9C06-4658-A711-ED91CB20C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460E8990-509C-0AAE-80E2-E4215275F807}"/>
              </a:ext>
            </a:extLst>
          </p:cNvPr>
          <p:cNvSpPr txBox="1"/>
          <p:nvPr/>
        </p:nvSpPr>
        <p:spPr>
          <a:xfrm>
            <a:off x="9465233" y="3842735"/>
            <a:ext cx="107231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b="1" dirty="0"/>
              <a:t>2023</a:t>
            </a:r>
          </a:p>
          <a:p>
            <a:pPr algn="ctr"/>
            <a:r>
              <a:rPr lang="de-DE" sz="1100" dirty="0"/>
              <a:t>Atom-ausstieg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8487048B-AC46-8E77-4C2A-62CEA916DFC3}"/>
              </a:ext>
            </a:extLst>
          </p:cNvPr>
          <p:cNvSpPr txBox="1"/>
          <p:nvPr/>
        </p:nvSpPr>
        <p:spPr>
          <a:xfrm>
            <a:off x="1368571" y="4788537"/>
            <a:ext cx="9985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b="1" dirty="0"/>
              <a:t>2019</a:t>
            </a:r>
          </a:p>
          <a:p>
            <a:pPr algn="ctr"/>
            <a:r>
              <a:rPr lang="de-DE" sz="1100" dirty="0"/>
              <a:t>Beschluss Klimaschutz-gesetz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2470CC3B-4789-42C1-DC30-E62FA9E053FD}"/>
              </a:ext>
            </a:extLst>
          </p:cNvPr>
          <p:cNvGrpSpPr/>
          <p:nvPr/>
        </p:nvGrpSpPr>
        <p:grpSpPr>
          <a:xfrm>
            <a:off x="2375299" y="4076939"/>
            <a:ext cx="854701" cy="1391612"/>
            <a:chOff x="7906298" y="2102303"/>
            <a:chExt cx="854701" cy="1391612"/>
          </a:xfrm>
        </p:grpSpPr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4133A14A-E866-4002-DF68-70287D37550D}"/>
                </a:ext>
              </a:extLst>
            </p:cNvPr>
            <p:cNvSpPr txBox="1"/>
            <p:nvPr/>
          </p:nvSpPr>
          <p:spPr>
            <a:xfrm>
              <a:off x="7906298" y="2893751"/>
              <a:ext cx="854701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100" b="1" dirty="0"/>
                <a:t>2019</a:t>
              </a:r>
            </a:p>
            <a:p>
              <a:pPr algn="ctr"/>
              <a:r>
                <a:rPr lang="de-DE" sz="1100" dirty="0" err="1"/>
                <a:t>Fridays</a:t>
              </a:r>
              <a:r>
                <a:rPr lang="de-DE" sz="1100" dirty="0"/>
                <a:t> </a:t>
              </a:r>
              <a:r>
                <a:rPr lang="de-DE" sz="1100" dirty="0" err="1"/>
                <a:t>for</a:t>
              </a:r>
              <a:r>
                <a:rPr lang="de-DE" sz="1100" dirty="0"/>
                <a:t> Future</a:t>
              </a:r>
            </a:p>
          </p:txBody>
        </p:sp>
        <p:pic>
          <p:nvPicPr>
            <p:cNvPr id="1026" name="Picture 2" descr="Fridays for Future DE - YouTube">
              <a:extLst>
                <a:ext uri="{FF2B5EF4-FFF2-40B4-BE49-F238E27FC236}">
                  <a16:creationId xmlns:a16="http://schemas.microsoft.com/office/drawing/2014/main" id="{DC52D793-9A18-2C0F-136C-B81EFB7B95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97985" y="2102303"/>
              <a:ext cx="720000" cy="7200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8671926D-C4C5-20B1-BFE4-EB8C8207BDD9}"/>
              </a:ext>
            </a:extLst>
          </p:cNvPr>
          <p:cNvGrpSpPr/>
          <p:nvPr/>
        </p:nvGrpSpPr>
        <p:grpSpPr>
          <a:xfrm>
            <a:off x="3238053" y="4104997"/>
            <a:ext cx="927413" cy="1374025"/>
            <a:chOff x="7162288" y="2643915"/>
            <a:chExt cx="927413" cy="1374025"/>
          </a:xfrm>
        </p:grpSpPr>
        <p:sp>
          <p:nvSpPr>
            <p:cNvPr id="56" name="Textfeld 55">
              <a:extLst>
                <a:ext uri="{FF2B5EF4-FFF2-40B4-BE49-F238E27FC236}">
                  <a16:creationId xmlns:a16="http://schemas.microsoft.com/office/drawing/2014/main" id="{3A30D153-1028-1CAC-3B81-6C67031A6A51}"/>
                </a:ext>
              </a:extLst>
            </p:cNvPr>
            <p:cNvSpPr txBox="1"/>
            <p:nvPr/>
          </p:nvSpPr>
          <p:spPr>
            <a:xfrm>
              <a:off x="7162288" y="3417776"/>
              <a:ext cx="927413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100" b="1" dirty="0"/>
                <a:t>2020</a:t>
              </a:r>
            </a:p>
            <a:p>
              <a:pPr algn="ctr"/>
              <a:r>
                <a:rPr lang="de-DE" sz="1100" dirty="0"/>
                <a:t>Corona-Pandemie</a:t>
              </a:r>
            </a:p>
          </p:txBody>
        </p:sp>
        <p:pic>
          <p:nvPicPr>
            <p:cNvPr id="1034" name="Picture 10" descr="Gebotszeichen Piktogramm &quot;Maske benutzen&quot; kaufen | SETON">
              <a:extLst>
                <a:ext uri="{FF2B5EF4-FFF2-40B4-BE49-F238E27FC236}">
                  <a16:creationId xmlns:a16="http://schemas.microsoft.com/office/drawing/2014/main" id="{BFA41357-7098-3D73-307A-C0079428E3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02127" y="2643915"/>
              <a:ext cx="720000" cy="7200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5" name="Textfeld 24">
            <a:extLst>
              <a:ext uri="{FF2B5EF4-FFF2-40B4-BE49-F238E27FC236}">
                <a16:creationId xmlns:a16="http://schemas.microsoft.com/office/drawing/2014/main" id="{D3A46569-D205-F1AF-E25E-CC5B1A653F2A}"/>
              </a:ext>
            </a:extLst>
          </p:cNvPr>
          <p:cNvSpPr txBox="1"/>
          <p:nvPr/>
        </p:nvSpPr>
        <p:spPr>
          <a:xfrm>
            <a:off x="6710575" y="4643713"/>
            <a:ext cx="136994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b="1" dirty="0"/>
              <a:t>2022</a:t>
            </a:r>
          </a:p>
          <a:p>
            <a:pPr algn="ctr"/>
            <a:r>
              <a:rPr lang="de-DE" sz="1100" dirty="0"/>
              <a:t>Energiekrise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CDB844EC-B0B0-C9AD-83A6-550DE2D4C8E8}"/>
              </a:ext>
            </a:extLst>
          </p:cNvPr>
          <p:cNvSpPr txBox="1"/>
          <p:nvPr/>
        </p:nvSpPr>
        <p:spPr>
          <a:xfrm>
            <a:off x="5883024" y="4721498"/>
            <a:ext cx="120109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b="1" dirty="0"/>
              <a:t>2022</a:t>
            </a:r>
          </a:p>
          <a:p>
            <a:pPr algn="ctr"/>
            <a:r>
              <a:rPr lang="de-DE" sz="1100" dirty="0"/>
              <a:t>Ukraine-Krieg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942E1949-78FE-5C12-8B8E-5E8EE3A43674}"/>
              </a:ext>
            </a:extLst>
          </p:cNvPr>
          <p:cNvSpPr txBox="1"/>
          <p:nvPr/>
        </p:nvSpPr>
        <p:spPr>
          <a:xfrm>
            <a:off x="4034132" y="4857670"/>
            <a:ext cx="125184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b="1" dirty="0"/>
              <a:t>2020</a:t>
            </a:r>
          </a:p>
          <a:p>
            <a:pPr algn="ctr"/>
            <a:r>
              <a:rPr lang="de-DE" sz="1100" dirty="0"/>
              <a:t>Kohleaus-</a:t>
            </a:r>
            <a:r>
              <a:rPr lang="de-DE" sz="1100" dirty="0" err="1"/>
              <a:t>stiegsgesetz</a:t>
            </a:r>
            <a:endParaRPr lang="de-DE" sz="1100" dirty="0"/>
          </a:p>
        </p:txBody>
      </p:sp>
      <p:pic>
        <p:nvPicPr>
          <p:cNvPr id="1068" name="Picture 44" descr="Aktuelle Entwicklungen - Strukturentwicklung in den sächsischen  Braunkohleregionen - sachsen.de">
            <a:extLst>
              <a:ext uri="{FF2B5EF4-FFF2-40B4-BE49-F238E27FC236}">
                <a16:creationId xmlns:a16="http://schemas.microsoft.com/office/drawing/2014/main" id="{036902FD-38B7-D8B6-2818-170EB1EC5D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57" r="20998"/>
          <a:stretch/>
        </p:blipFill>
        <p:spPr bwMode="auto">
          <a:xfrm>
            <a:off x="460718" y="4150191"/>
            <a:ext cx="721072" cy="720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D820CC30-B7FF-9300-3D1B-FEC53D793DBC}"/>
              </a:ext>
            </a:extLst>
          </p:cNvPr>
          <p:cNvCxnSpPr/>
          <p:nvPr/>
        </p:nvCxnSpPr>
        <p:spPr>
          <a:xfrm>
            <a:off x="414549" y="6004696"/>
            <a:ext cx="11016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46" name="Google Shape;5196;p69">
            <a:extLst>
              <a:ext uri="{FF2B5EF4-FFF2-40B4-BE49-F238E27FC236}">
                <a16:creationId xmlns:a16="http://schemas.microsoft.com/office/drawing/2014/main" id="{8565C2E2-ACC8-07D7-2ECD-4E4134609E88}"/>
              </a:ext>
            </a:extLst>
          </p:cNvPr>
          <p:cNvSpPr>
            <a:spLocks noChangeAspect="1"/>
          </p:cNvSpPr>
          <p:nvPr/>
        </p:nvSpPr>
        <p:spPr>
          <a:xfrm rot="16704447">
            <a:off x="11492875" y="2116325"/>
            <a:ext cx="142921" cy="216000"/>
          </a:xfrm>
          <a:custGeom>
            <a:avLst/>
            <a:gdLst/>
            <a:ahLst/>
            <a:cxnLst/>
            <a:rect l="l" t="t" r="r" b="b"/>
            <a:pathLst>
              <a:path w="1956" h="2684" extrusionOk="0">
                <a:moveTo>
                  <a:pt x="1" y="0"/>
                </a:moveTo>
                <a:lnTo>
                  <a:pt x="787" y="1342"/>
                </a:lnTo>
                <a:lnTo>
                  <a:pt x="1" y="2683"/>
                </a:lnTo>
                <a:lnTo>
                  <a:pt x="1955" y="1342"/>
                </a:lnTo>
                <a:lnTo>
                  <a:pt x="1" y="0"/>
                </a:lnTo>
                <a:close/>
              </a:path>
            </a:pathLst>
          </a:custGeom>
          <a:solidFill>
            <a:schemeClr val="accent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069" name="Gerader Verbinder 1068">
            <a:extLst>
              <a:ext uri="{FF2B5EF4-FFF2-40B4-BE49-F238E27FC236}">
                <a16:creationId xmlns:a16="http://schemas.microsoft.com/office/drawing/2014/main" id="{26093B54-3890-8837-25F8-AC5AC9D85F75}"/>
              </a:ext>
            </a:extLst>
          </p:cNvPr>
          <p:cNvCxnSpPr/>
          <p:nvPr/>
        </p:nvCxnSpPr>
        <p:spPr>
          <a:xfrm>
            <a:off x="1842515" y="5513180"/>
            <a:ext cx="0" cy="32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0" name="Gerader Verbinder 1069">
            <a:extLst>
              <a:ext uri="{FF2B5EF4-FFF2-40B4-BE49-F238E27FC236}">
                <a16:creationId xmlns:a16="http://schemas.microsoft.com/office/drawing/2014/main" id="{C5645D0E-44BC-614B-1070-7E836762FD76}"/>
              </a:ext>
            </a:extLst>
          </p:cNvPr>
          <p:cNvCxnSpPr>
            <a:cxnSpLocks/>
          </p:cNvCxnSpPr>
          <p:nvPr/>
        </p:nvCxnSpPr>
        <p:spPr>
          <a:xfrm>
            <a:off x="3683087" y="5492859"/>
            <a:ext cx="0" cy="32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2" name="Gerader Verbinder 1071">
            <a:extLst>
              <a:ext uri="{FF2B5EF4-FFF2-40B4-BE49-F238E27FC236}">
                <a16:creationId xmlns:a16="http://schemas.microsoft.com/office/drawing/2014/main" id="{44C0D606-837E-548C-0530-2A2B7F843465}"/>
              </a:ext>
            </a:extLst>
          </p:cNvPr>
          <p:cNvCxnSpPr/>
          <p:nvPr/>
        </p:nvCxnSpPr>
        <p:spPr>
          <a:xfrm>
            <a:off x="6483572" y="5159726"/>
            <a:ext cx="0" cy="5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3" name="Gerader Verbinder 1072">
            <a:extLst>
              <a:ext uri="{FF2B5EF4-FFF2-40B4-BE49-F238E27FC236}">
                <a16:creationId xmlns:a16="http://schemas.microsoft.com/office/drawing/2014/main" id="{9FFD5092-7C2A-00C8-D205-6FB5A2979A2F}"/>
              </a:ext>
            </a:extLst>
          </p:cNvPr>
          <p:cNvCxnSpPr/>
          <p:nvPr/>
        </p:nvCxnSpPr>
        <p:spPr>
          <a:xfrm>
            <a:off x="7366208" y="5119657"/>
            <a:ext cx="0" cy="50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0" name="Gerader Verbinder 1079">
            <a:extLst>
              <a:ext uri="{FF2B5EF4-FFF2-40B4-BE49-F238E27FC236}">
                <a16:creationId xmlns:a16="http://schemas.microsoft.com/office/drawing/2014/main" id="{7E381B00-3B48-4E2A-CB11-075A5CB22BAF}"/>
              </a:ext>
            </a:extLst>
          </p:cNvPr>
          <p:cNvCxnSpPr/>
          <p:nvPr/>
        </p:nvCxnSpPr>
        <p:spPr>
          <a:xfrm>
            <a:off x="797802" y="5502863"/>
            <a:ext cx="0" cy="32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1" name="Gerader Verbinder 1080">
            <a:extLst>
              <a:ext uri="{FF2B5EF4-FFF2-40B4-BE49-F238E27FC236}">
                <a16:creationId xmlns:a16="http://schemas.microsoft.com/office/drawing/2014/main" id="{F40DD6E0-D132-E2E5-B47C-09D7AE212791}"/>
              </a:ext>
            </a:extLst>
          </p:cNvPr>
          <p:cNvCxnSpPr/>
          <p:nvPr/>
        </p:nvCxnSpPr>
        <p:spPr>
          <a:xfrm>
            <a:off x="2794177" y="5506087"/>
            <a:ext cx="0" cy="32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2" name="Gerader Verbinder 1081">
            <a:extLst>
              <a:ext uri="{FF2B5EF4-FFF2-40B4-BE49-F238E27FC236}">
                <a16:creationId xmlns:a16="http://schemas.microsoft.com/office/drawing/2014/main" id="{48D34348-21FD-6AE2-197D-07079A5257A9}"/>
              </a:ext>
            </a:extLst>
          </p:cNvPr>
          <p:cNvCxnSpPr>
            <a:cxnSpLocks/>
          </p:cNvCxnSpPr>
          <p:nvPr/>
        </p:nvCxnSpPr>
        <p:spPr>
          <a:xfrm>
            <a:off x="4645379" y="5470497"/>
            <a:ext cx="0" cy="324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5" name="Gerader Verbinder 1084">
            <a:extLst>
              <a:ext uri="{FF2B5EF4-FFF2-40B4-BE49-F238E27FC236}">
                <a16:creationId xmlns:a16="http://schemas.microsoft.com/office/drawing/2014/main" id="{2DE06E8D-554A-51D5-985A-985563B3D89B}"/>
              </a:ext>
            </a:extLst>
          </p:cNvPr>
          <p:cNvCxnSpPr/>
          <p:nvPr/>
        </p:nvCxnSpPr>
        <p:spPr>
          <a:xfrm>
            <a:off x="9961584" y="4438348"/>
            <a:ext cx="0" cy="5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91" name="Gruppieren 1090">
            <a:extLst>
              <a:ext uri="{FF2B5EF4-FFF2-40B4-BE49-F238E27FC236}">
                <a16:creationId xmlns:a16="http://schemas.microsoft.com/office/drawing/2014/main" id="{401345CC-E4B9-AD11-6070-57D51CD9CB98}"/>
              </a:ext>
            </a:extLst>
          </p:cNvPr>
          <p:cNvGrpSpPr/>
          <p:nvPr/>
        </p:nvGrpSpPr>
        <p:grpSpPr>
          <a:xfrm>
            <a:off x="9511584" y="3014573"/>
            <a:ext cx="900000" cy="900000"/>
            <a:chOff x="6811122" y="1701742"/>
            <a:chExt cx="900000" cy="900000"/>
          </a:xfrm>
        </p:grpSpPr>
        <p:pic>
          <p:nvPicPr>
            <p:cNvPr id="1086" name="Picture 16" descr="Atomkraft zeichen-Vektoren und -Illustrationen zum kostenlosen Download |  Freepik">
              <a:extLst>
                <a:ext uri="{FF2B5EF4-FFF2-40B4-BE49-F238E27FC236}">
                  <a16:creationId xmlns:a16="http://schemas.microsoft.com/office/drawing/2014/main" id="{CB4E8A00-B60C-3B31-C4AF-B5916F7E49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6409" y="1776142"/>
              <a:ext cx="756000" cy="7560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90" name="Grafik 1089" descr="Verbotsschild Silhouette">
              <a:extLst>
                <a:ext uri="{FF2B5EF4-FFF2-40B4-BE49-F238E27FC236}">
                  <a16:creationId xmlns:a16="http://schemas.microsoft.com/office/drawing/2014/main" id="{EE4BDB86-DD14-CE88-CCC0-F65A072F27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811122" y="1701742"/>
              <a:ext cx="900000" cy="900000"/>
            </a:xfrm>
            <a:prstGeom prst="rect">
              <a:avLst/>
            </a:prstGeom>
          </p:spPr>
        </p:pic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2CC71B2C-C357-67BD-B675-C8FCCBA1F4B0}"/>
              </a:ext>
            </a:extLst>
          </p:cNvPr>
          <p:cNvGrpSpPr/>
          <p:nvPr/>
        </p:nvGrpSpPr>
        <p:grpSpPr>
          <a:xfrm>
            <a:off x="4198660" y="4021107"/>
            <a:ext cx="900000" cy="899998"/>
            <a:chOff x="5072656" y="2427999"/>
            <a:chExt cx="936000" cy="936000"/>
          </a:xfrm>
        </p:grpSpPr>
        <p:pic>
          <p:nvPicPr>
            <p:cNvPr id="11" name="Grafik 10" descr="Kraftwerk mit einfarbiger Füllung">
              <a:extLst>
                <a:ext uri="{FF2B5EF4-FFF2-40B4-BE49-F238E27FC236}">
                  <a16:creationId xmlns:a16="http://schemas.microsoft.com/office/drawing/2014/main" id="{5EE451DC-4546-B413-87A6-7B048FE51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267852" y="2605204"/>
              <a:ext cx="504000" cy="504001"/>
            </a:xfrm>
            <a:prstGeom prst="rect">
              <a:avLst/>
            </a:prstGeom>
          </p:spPr>
        </p:pic>
        <p:pic>
          <p:nvPicPr>
            <p:cNvPr id="14" name="Grafik 13" descr="Verbotsschild Silhouette">
              <a:extLst>
                <a:ext uri="{FF2B5EF4-FFF2-40B4-BE49-F238E27FC236}">
                  <a16:creationId xmlns:a16="http://schemas.microsoft.com/office/drawing/2014/main" id="{405CB387-FBEF-6603-1922-B058F18940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72656" y="2427999"/>
              <a:ext cx="936000" cy="936000"/>
            </a:xfrm>
            <a:prstGeom prst="rect">
              <a:avLst/>
            </a:prstGeom>
          </p:spPr>
        </p:pic>
      </p:grpSp>
      <p:sp>
        <p:nvSpPr>
          <p:cNvPr id="8" name="Ellipse 7">
            <a:extLst>
              <a:ext uri="{FF2B5EF4-FFF2-40B4-BE49-F238E27FC236}">
                <a16:creationId xmlns:a16="http://schemas.microsoft.com/office/drawing/2014/main" id="{46AE5EAA-374F-003E-55B0-F5A36B1576D1}"/>
              </a:ext>
            </a:extLst>
          </p:cNvPr>
          <p:cNvSpPr/>
          <p:nvPr/>
        </p:nvSpPr>
        <p:spPr>
          <a:xfrm>
            <a:off x="1504197" y="4045482"/>
            <a:ext cx="720000" cy="720000"/>
          </a:xfrm>
          <a:prstGeom prst="ellipse">
            <a:avLst/>
          </a:prstGeom>
          <a:solidFill>
            <a:schemeClr val="bg1"/>
          </a:solidFill>
          <a:ln>
            <a:solidFill>
              <a:srgbClr val="7AB5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11" descr="Offene Hand mit Pflanze Silhouette">
            <a:extLst>
              <a:ext uri="{FF2B5EF4-FFF2-40B4-BE49-F238E27FC236}">
                <a16:creationId xmlns:a16="http://schemas.microsoft.com/office/drawing/2014/main" id="{34589A13-E7EA-C646-FE32-7681B9D5AA4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561036" y="4131394"/>
            <a:ext cx="612000" cy="612000"/>
          </a:xfrm>
          <a:prstGeom prst="rect">
            <a:avLst/>
          </a:prstGeom>
        </p:spPr>
      </p:pic>
      <p:sp>
        <p:nvSpPr>
          <p:cNvPr id="31" name="Fußzeilenplatzhalter 30">
            <a:extLst>
              <a:ext uri="{FF2B5EF4-FFF2-40B4-BE49-F238E27FC236}">
                <a16:creationId xmlns:a16="http://schemas.microsoft.com/office/drawing/2014/main" id="{5E9DC1ED-80B4-771F-82AC-B8B7D3DA78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IHK/OHK-Workshop zur Energiewende in Deutschland und Tschechien</a:t>
            </a:r>
          </a:p>
        </p:txBody>
      </p:sp>
      <p:pic>
        <p:nvPicPr>
          <p:cNvPr id="3" name="Picture 2" descr="Ukraine-Krieg: Wie Russland den Großangriff auf Kiew vorbereitet">
            <a:extLst>
              <a:ext uri="{FF2B5EF4-FFF2-40B4-BE49-F238E27FC236}">
                <a16:creationId xmlns:a16="http://schemas.microsoft.com/office/drawing/2014/main" id="{E1845447-5E91-0505-3EAB-93BF70098B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08" r="7425"/>
          <a:stretch/>
        </p:blipFill>
        <p:spPr bwMode="auto">
          <a:xfrm>
            <a:off x="6154233" y="3897320"/>
            <a:ext cx="725750" cy="720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B7B33909-D7B2-49EC-B072-B304019143BC}"/>
              </a:ext>
            </a:extLst>
          </p:cNvPr>
          <p:cNvSpPr txBox="1"/>
          <p:nvPr/>
        </p:nvSpPr>
        <p:spPr>
          <a:xfrm>
            <a:off x="5100012" y="4665220"/>
            <a:ext cx="9985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b="1" dirty="0"/>
              <a:t>2021</a:t>
            </a:r>
          </a:p>
          <a:p>
            <a:pPr algn="ctr"/>
            <a:r>
              <a:rPr lang="de-DE" sz="1100" dirty="0"/>
              <a:t>1. Novelle Klimaschutz-gesetz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F012018A-7BE5-562B-1187-CDD1B2E208B9}"/>
              </a:ext>
            </a:extLst>
          </p:cNvPr>
          <p:cNvSpPr/>
          <p:nvPr/>
        </p:nvSpPr>
        <p:spPr>
          <a:xfrm>
            <a:off x="5216186" y="3915072"/>
            <a:ext cx="720000" cy="720000"/>
          </a:xfrm>
          <a:prstGeom prst="ellipse">
            <a:avLst/>
          </a:prstGeom>
          <a:solidFill>
            <a:schemeClr val="bg1"/>
          </a:solidFill>
          <a:ln>
            <a:solidFill>
              <a:srgbClr val="7AB5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6" name="Grafik 11" descr="Offene Hand mit Pflanze Silhouette">
            <a:extLst>
              <a:ext uri="{FF2B5EF4-FFF2-40B4-BE49-F238E27FC236}">
                <a16:creationId xmlns:a16="http://schemas.microsoft.com/office/drawing/2014/main" id="{D768B396-54C3-5541-DCF6-9B05206E1E1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273025" y="3964040"/>
            <a:ext cx="612000" cy="612000"/>
          </a:xfrm>
          <a:prstGeom prst="rect">
            <a:avLst/>
          </a:prstGeom>
        </p:spPr>
      </p:pic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62758873-2706-BCCC-0C52-F353D05B22AE}"/>
              </a:ext>
            </a:extLst>
          </p:cNvPr>
          <p:cNvCxnSpPr>
            <a:cxnSpLocks/>
          </p:cNvCxnSpPr>
          <p:nvPr/>
        </p:nvCxnSpPr>
        <p:spPr>
          <a:xfrm>
            <a:off x="5585422" y="5421623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A511B9D9-4A4E-CB3A-1590-5C5D8114D1F0}"/>
              </a:ext>
            </a:extLst>
          </p:cNvPr>
          <p:cNvSpPr txBox="1"/>
          <p:nvPr/>
        </p:nvSpPr>
        <p:spPr>
          <a:xfrm>
            <a:off x="7617403" y="4436939"/>
            <a:ext cx="136994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b="1" dirty="0"/>
              <a:t>2022</a:t>
            </a:r>
          </a:p>
          <a:p>
            <a:pPr algn="ctr"/>
            <a:r>
              <a:rPr lang="de-DE" sz="1100" dirty="0"/>
              <a:t>RWE-Kohle-ausstieg 2030</a:t>
            </a:r>
          </a:p>
        </p:txBody>
      </p:sp>
      <p:pic>
        <p:nvPicPr>
          <p:cNvPr id="27" name="Picture 24" descr="Verständigung auf Kohleausstieg 2030 und Stärkung der Versorgungssicherheit  in der Energiekrise">
            <a:extLst>
              <a:ext uri="{FF2B5EF4-FFF2-40B4-BE49-F238E27FC236}">
                <a16:creationId xmlns:a16="http://schemas.microsoft.com/office/drawing/2014/main" id="{18CE266D-4C0B-097D-D304-40374DABC1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8" r="29418"/>
          <a:stretch/>
        </p:blipFill>
        <p:spPr bwMode="auto">
          <a:xfrm>
            <a:off x="7889060" y="3687640"/>
            <a:ext cx="726446" cy="720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724E1AA8-D0ED-7B73-5700-0F40D827AA58}"/>
              </a:ext>
            </a:extLst>
          </p:cNvPr>
          <p:cNvCxnSpPr/>
          <p:nvPr/>
        </p:nvCxnSpPr>
        <p:spPr>
          <a:xfrm>
            <a:off x="8257547" y="5074600"/>
            <a:ext cx="0" cy="43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F3364A0C-DCC8-2EDD-1AF4-E8EBCC9A41BE}"/>
              </a:ext>
            </a:extLst>
          </p:cNvPr>
          <p:cNvCxnSpPr/>
          <p:nvPr/>
        </p:nvCxnSpPr>
        <p:spPr>
          <a:xfrm>
            <a:off x="9197642" y="4746236"/>
            <a:ext cx="0" cy="5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CA2AFB5A-1FA1-8B4B-DEBE-CF6389987BBB}"/>
              </a:ext>
            </a:extLst>
          </p:cNvPr>
          <p:cNvSpPr txBox="1"/>
          <p:nvPr/>
        </p:nvSpPr>
        <p:spPr>
          <a:xfrm>
            <a:off x="8631332" y="4090050"/>
            <a:ext cx="109567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b="1" dirty="0"/>
              <a:t>2023</a:t>
            </a:r>
          </a:p>
          <a:p>
            <a:pPr algn="ctr"/>
            <a:r>
              <a:rPr lang="de-DE" sz="1100" dirty="0"/>
              <a:t>EU-ETS-Reform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E58CBA87-5EBC-4E30-8391-86C111E7CB63}"/>
              </a:ext>
            </a:extLst>
          </p:cNvPr>
          <p:cNvSpPr txBox="1"/>
          <p:nvPr/>
        </p:nvSpPr>
        <p:spPr>
          <a:xfrm>
            <a:off x="10278162" y="3080437"/>
            <a:ext cx="9985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b="1" dirty="0"/>
              <a:t>2023</a:t>
            </a:r>
          </a:p>
          <a:p>
            <a:pPr algn="ctr"/>
            <a:r>
              <a:rPr lang="de-DE" sz="1100" dirty="0"/>
              <a:t>2. Novelle Klimaschutz-gesetz</a:t>
            </a: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9447D1D6-A71A-19E4-A575-7EC3DD8121B8}"/>
              </a:ext>
            </a:extLst>
          </p:cNvPr>
          <p:cNvSpPr/>
          <p:nvPr/>
        </p:nvSpPr>
        <p:spPr>
          <a:xfrm>
            <a:off x="10428370" y="2330996"/>
            <a:ext cx="720000" cy="720000"/>
          </a:xfrm>
          <a:prstGeom prst="ellipse">
            <a:avLst/>
          </a:prstGeom>
          <a:solidFill>
            <a:schemeClr val="bg1"/>
          </a:solidFill>
          <a:ln>
            <a:solidFill>
              <a:srgbClr val="7AB5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7" name="Grafik 11" descr="Offene Hand mit Pflanze Silhouette">
            <a:extLst>
              <a:ext uri="{FF2B5EF4-FFF2-40B4-BE49-F238E27FC236}">
                <a16:creationId xmlns:a16="http://schemas.microsoft.com/office/drawing/2014/main" id="{E5D6A0CF-2A18-FBA1-87D9-6D38BCD9C4E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485209" y="2379964"/>
            <a:ext cx="612000" cy="612000"/>
          </a:xfrm>
          <a:prstGeom prst="rect">
            <a:avLst/>
          </a:prstGeom>
        </p:spPr>
      </p:pic>
      <p:pic>
        <p:nvPicPr>
          <p:cNvPr id="38" name="Picture 20" descr="Europäische Union – Wikipedia">
            <a:extLst>
              <a:ext uri="{FF2B5EF4-FFF2-40B4-BE49-F238E27FC236}">
                <a16:creationId xmlns:a16="http://schemas.microsoft.com/office/drawing/2014/main" id="{73DC0A6A-38C9-28D3-0C02-7F23B1AA3C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24" r="17099"/>
          <a:stretch/>
        </p:blipFill>
        <p:spPr bwMode="auto">
          <a:xfrm>
            <a:off x="8796505" y="3390873"/>
            <a:ext cx="717936" cy="720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AFA3AF1D-DE37-BDAE-31E5-718275ACE239}"/>
              </a:ext>
            </a:extLst>
          </p:cNvPr>
          <p:cNvCxnSpPr/>
          <p:nvPr/>
        </p:nvCxnSpPr>
        <p:spPr>
          <a:xfrm>
            <a:off x="10777986" y="3852552"/>
            <a:ext cx="0" cy="46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reihandform: Form 40">
            <a:extLst>
              <a:ext uri="{FF2B5EF4-FFF2-40B4-BE49-F238E27FC236}">
                <a16:creationId xmlns:a16="http://schemas.microsoft.com/office/drawing/2014/main" id="{D664BAA6-6FB6-51B3-CC38-BC9C825B3826}"/>
              </a:ext>
            </a:extLst>
          </p:cNvPr>
          <p:cNvSpPr/>
          <p:nvPr/>
        </p:nvSpPr>
        <p:spPr>
          <a:xfrm rot="21366281">
            <a:off x="364526" y="2614559"/>
            <a:ext cx="11314546" cy="3142954"/>
          </a:xfrm>
          <a:custGeom>
            <a:avLst/>
            <a:gdLst>
              <a:gd name="connsiteX0" fmla="*/ 0 w 11314546"/>
              <a:gd name="connsiteY0" fmla="*/ 2854036 h 3142954"/>
              <a:gd name="connsiteX1" fmla="*/ 8820728 w 11314546"/>
              <a:gd name="connsiteY1" fmla="*/ 2872509 h 3142954"/>
              <a:gd name="connsiteX2" fmla="*/ 11314546 w 11314546"/>
              <a:gd name="connsiteY2" fmla="*/ 0 h 3142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314546" h="3142954">
                <a:moveTo>
                  <a:pt x="0" y="2854036"/>
                </a:moveTo>
                <a:cubicBezTo>
                  <a:pt x="3467485" y="3101109"/>
                  <a:pt x="6934970" y="3348182"/>
                  <a:pt x="8820728" y="2872509"/>
                </a:cubicBezTo>
                <a:cubicBezTo>
                  <a:pt x="10706486" y="2396836"/>
                  <a:pt x="11010516" y="1198418"/>
                  <a:pt x="11314546" y="0"/>
                </a:cubicBezTo>
              </a:path>
            </a:pathLst>
          </a:cu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2" name="Picture 42" descr="Nord-Stream-Ermittlungen: Spuren führen in die Ukraine | tagesschau.de">
            <a:extLst>
              <a:ext uri="{FF2B5EF4-FFF2-40B4-BE49-F238E27FC236}">
                <a16:creationId xmlns:a16="http://schemas.microsoft.com/office/drawing/2014/main" id="{6EDE4977-C9C4-A37D-FE89-D65D0C72DE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73" t="20601" r="26166"/>
          <a:stretch/>
        </p:blipFill>
        <p:spPr bwMode="auto">
          <a:xfrm>
            <a:off x="7005415" y="3875572"/>
            <a:ext cx="721586" cy="720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F7A5E194-FCA4-0515-7C43-6815E0B785FB}"/>
              </a:ext>
            </a:extLst>
          </p:cNvPr>
          <p:cNvSpPr txBox="1"/>
          <p:nvPr/>
        </p:nvSpPr>
        <p:spPr>
          <a:xfrm>
            <a:off x="10777449" y="1296187"/>
            <a:ext cx="146896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</a:rPr>
              <a:t>Intensität und Häufigkeit politischer Eingriffe </a:t>
            </a:r>
          </a:p>
        </p:txBody>
      </p:sp>
    </p:spTree>
    <p:extLst>
      <p:ext uri="{BB962C8B-B14F-4D97-AF65-F5344CB8AC3E}">
        <p14:creationId xmlns:p14="http://schemas.microsoft.com/office/powerpoint/2010/main" val="41139667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ECAB0A8-428B-D836-00B2-5F207ADF07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CAB0A8-428B-D836-00B2-5F207ADF07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94217AC-18F2-D9B4-6064-E047A26D63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rktsituation Kraftwerke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D91FFCD-65B3-57AF-F06C-15CFE4C2AB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1.2023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DA4C31B-DD2F-E85F-B2A5-8B84EA8024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BF10099-0DDC-489F-B636-A97350F31D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7</a:t>
            </a:fld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F595A13-DA4E-FEBF-DB70-3C7F3B5B28B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5605" r="28990" b="4711"/>
          <a:stretch/>
        </p:blipFill>
        <p:spPr>
          <a:xfrm>
            <a:off x="158484" y="1169281"/>
            <a:ext cx="3777276" cy="445904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A27A8284-C891-0AC6-D8B3-6FC5FCD235C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3586" r="17176" b="25663"/>
          <a:stretch/>
        </p:blipFill>
        <p:spPr>
          <a:xfrm>
            <a:off x="4024044" y="1169281"/>
            <a:ext cx="4184401" cy="4459048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0855489-0C54-38BE-705C-FAC5E143DC8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1111" r="30203" b="18628"/>
          <a:stretch/>
        </p:blipFill>
        <p:spPr>
          <a:xfrm>
            <a:off x="8296729" y="1169281"/>
            <a:ext cx="3769016" cy="445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696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DAB0E8A5-C27C-BF3D-6E63-2EBFCE9AAF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B0E8A5-C27C-BF3D-6E63-2EBFCE9AAF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84254E3-7645-750B-5AE4-D71D20A31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Preisentwicklung am Strommarkt (EEX Day-</a:t>
            </a:r>
            <a:r>
              <a:rPr lang="de-DE" dirty="0" err="1"/>
              <a:t>Ahead</a:t>
            </a:r>
            <a:r>
              <a:rPr lang="de-DE" dirty="0"/>
              <a:t>)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124758D-1E2B-4810-6BB0-F35520A45E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1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458A286-2110-2EB6-979A-DCF1015A8E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8</a:t>
            </a:fld>
            <a:endParaRPr lang="de-DE"/>
          </a:p>
        </p:txBody>
      </p:sp>
      <p:graphicFrame>
        <p:nvGraphicFramePr>
          <p:cNvPr id="5" name="Diagramm 4">
            <a:extLst>
              <a:ext uri="{FF2B5EF4-FFF2-40B4-BE49-F238E27FC236}">
                <a16:creationId xmlns:a16="http://schemas.microsoft.com/office/drawing/2014/main" id="{67AB4E7B-0E69-5740-9D89-90FD1BB841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6372082"/>
              </p:ext>
            </p:extLst>
          </p:nvPr>
        </p:nvGraphicFramePr>
        <p:xfrm>
          <a:off x="180000" y="898144"/>
          <a:ext cx="11808000" cy="5645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FFA2A831-2BB8-01F9-0958-D31DB044B577}"/>
              </a:ext>
            </a:extLst>
          </p:cNvPr>
          <p:cNvCxnSpPr/>
          <p:nvPr/>
        </p:nvCxnSpPr>
        <p:spPr>
          <a:xfrm>
            <a:off x="4916267" y="672304"/>
            <a:ext cx="0" cy="5454000"/>
          </a:xfrm>
          <a:prstGeom prst="line">
            <a:avLst/>
          </a:prstGeom>
          <a:ln w="1270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07BC5DBA-9B22-9D86-04EA-E769F0E7C02B}"/>
              </a:ext>
            </a:extLst>
          </p:cNvPr>
          <p:cNvCxnSpPr>
            <a:cxnSpLocks/>
          </p:cNvCxnSpPr>
          <p:nvPr/>
        </p:nvCxnSpPr>
        <p:spPr>
          <a:xfrm>
            <a:off x="8988054" y="674226"/>
            <a:ext cx="0" cy="5454000"/>
          </a:xfrm>
          <a:prstGeom prst="line">
            <a:avLst/>
          </a:prstGeom>
          <a:ln w="1270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0ECFF2D5-7669-14C0-E293-7AA49E91F02D}"/>
              </a:ext>
            </a:extLst>
          </p:cNvPr>
          <p:cNvCxnSpPr>
            <a:cxnSpLocks/>
          </p:cNvCxnSpPr>
          <p:nvPr/>
        </p:nvCxnSpPr>
        <p:spPr>
          <a:xfrm>
            <a:off x="845471" y="3852514"/>
            <a:ext cx="109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543790EE-F093-DFA7-8E46-22040B660CFA}"/>
              </a:ext>
            </a:extLst>
          </p:cNvPr>
          <p:cNvGrpSpPr/>
          <p:nvPr/>
        </p:nvGrpSpPr>
        <p:grpSpPr>
          <a:xfrm>
            <a:off x="1972660" y="6202300"/>
            <a:ext cx="8246681" cy="261610"/>
            <a:chOff x="1377375" y="6202300"/>
            <a:chExt cx="8246681" cy="261610"/>
          </a:xfrm>
        </p:grpSpPr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DBB1783A-E13B-64A3-5B0A-E93ACE6564A2}"/>
                </a:ext>
              </a:extLst>
            </p:cNvPr>
            <p:cNvSpPr txBox="1"/>
            <p:nvPr/>
          </p:nvSpPr>
          <p:spPr>
            <a:xfrm>
              <a:off x="1377375" y="6202300"/>
              <a:ext cx="8246681" cy="2616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de-DE" sz="1100">
                  <a:solidFill>
                    <a:srgbClr val="7C7C7C"/>
                  </a:solidFill>
                </a:rPr>
                <a:t>                 Clean Lignite Spread [€/MWh]                       CO</a:t>
              </a:r>
              <a:r>
                <a:rPr lang="de-DE" sz="1100" baseline="-25000">
                  <a:solidFill>
                    <a:srgbClr val="7C7C7C"/>
                  </a:solidFill>
                </a:rPr>
                <a:t>2</a:t>
              </a:r>
              <a:r>
                <a:rPr lang="de-DE" sz="1100">
                  <a:solidFill>
                    <a:srgbClr val="7C7C7C"/>
                  </a:solidFill>
                </a:rPr>
                <a:t>-Preis [€/t]                          Day-</a:t>
              </a:r>
              <a:r>
                <a:rPr lang="de-DE" sz="1100" err="1">
                  <a:solidFill>
                    <a:srgbClr val="7C7C7C"/>
                  </a:solidFill>
                </a:rPr>
                <a:t>Ahead</a:t>
              </a:r>
              <a:r>
                <a:rPr lang="de-DE" sz="1100">
                  <a:solidFill>
                    <a:srgbClr val="7C7C7C"/>
                  </a:solidFill>
                </a:rPr>
                <a:t>-Börsenstrompreis [€/MWh]     </a:t>
              </a:r>
              <a:endParaRPr lang="de-DE">
                <a:solidFill>
                  <a:srgbClr val="7C7C7C"/>
                </a:solidFill>
              </a:endParaRPr>
            </a:p>
          </p:txBody>
        </p: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878FEC25-D5D2-3325-D1EE-8CFF1FF0568C}"/>
                </a:ext>
              </a:extLst>
            </p:cNvPr>
            <p:cNvCxnSpPr>
              <a:cxnSpLocks/>
            </p:cNvCxnSpPr>
            <p:nvPr/>
          </p:nvCxnSpPr>
          <p:spPr>
            <a:xfrm>
              <a:off x="1483807" y="6333105"/>
              <a:ext cx="540000" cy="0"/>
            </a:xfrm>
            <a:prstGeom prst="line">
              <a:avLst/>
            </a:prstGeom>
            <a:ln w="19050">
              <a:solidFill>
                <a:srgbClr val="FAA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FEBE87D7-6F94-023E-8C54-F15D422E1DAA}"/>
                </a:ext>
              </a:extLst>
            </p:cNvPr>
            <p:cNvCxnSpPr>
              <a:cxnSpLocks/>
            </p:cNvCxnSpPr>
            <p:nvPr/>
          </p:nvCxnSpPr>
          <p:spPr>
            <a:xfrm>
              <a:off x="4238513" y="6333105"/>
              <a:ext cx="540000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A89B957D-2B78-3F21-DDEF-F2F6100DAE7A}"/>
                </a:ext>
              </a:extLst>
            </p:cNvPr>
            <p:cNvCxnSpPr>
              <a:cxnSpLocks/>
            </p:cNvCxnSpPr>
            <p:nvPr/>
          </p:nvCxnSpPr>
          <p:spPr>
            <a:xfrm>
              <a:off x="6124462" y="6333105"/>
              <a:ext cx="540000" cy="0"/>
            </a:xfrm>
            <a:prstGeom prst="line">
              <a:avLst/>
            </a:prstGeom>
            <a:ln w="19050">
              <a:solidFill>
                <a:srgbClr val="7385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feld 14">
            <a:extLst>
              <a:ext uri="{FF2B5EF4-FFF2-40B4-BE49-F238E27FC236}">
                <a16:creationId xmlns:a16="http://schemas.microsoft.com/office/drawing/2014/main" id="{322325C5-E90A-AC17-788C-C63F7C9C3E14}"/>
              </a:ext>
            </a:extLst>
          </p:cNvPr>
          <p:cNvSpPr txBox="1"/>
          <p:nvPr/>
        </p:nvSpPr>
        <p:spPr>
          <a:xfrm>
            <a:off x="1750918" y="1034376"/>
            <a:ext cx="24829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Ø Strompreis: 22,54 €/MWh</a:t>
            </a:r>
          </a:p>
          <a:p>
            <a:r>
              <a:rPr lang="de-DE" sz="1400" dirty="0"/>
              <a:t>Ø CO</a:t>
            </a:r>
            <a:r>
              <a:rPr lang="de-DE" sz="1400" baseline="-25000" dirty="0"/>
              <a:t>2</a:t>
            </a:r>
            <a:r>
              <a:rPr lang="de-DE" sz="1400" dirty="0"/>
              <a:t>-Preis: - </a:t>
            </a:r>
          </a:p>
          <a:p>
            <a:r>
              <a:rPr lang="de-DE" sz="1400" dirty="0"/>
              <a:t>Ø CLS: 22,54 €/MWh</a:t>
            </a:r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67D61A99-776D-C107-6074-F38265B94853}"/>
              </a:ext>
            </a:extLst>
          </p:cNvPr>
          <p:cNvSpPr txBox="1"/>
          <p:nvPr/>
        </p:nvSpPr>
        <p:spPr>
          <a:xfrm>
            <a:off x="5579441" y="1023922"/>
            <a:ext cx="255326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Ø Strompreis: 44,47 €/MWh</a:t>
            </a:r>
          </a:p>
          <a:p>
            <a:r>
              <a:rPr lang="de-DE" sz="1400" dirty="0"/>
              <a:t>Ø CO</a:t>
            </a:r>
            <a:r>
              <a:rPr lang="de-DE" sz="1400" baseline="-25000" dirty="0"/>
              <a:t>2</a:t>
            </a:r>
            <a:r>
              <a:rPr lang="de-DE" sz="1400" dirty="0"/>
              <a:t>-Preis: 15,94 €/t</a:t>
            </a:r>
          </a:p>
          <a:p>
            <a:r>
              <a:rPr lang="de-DE" sz="1400" dirty="0"/>
              <a:t>Ø CLS: 28,53 €/MWh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CC2B70B-F397-0FEB-DAD0-A61D0ADB5134}"/>
              </a:ext>
            </a:extLst>
          </p:cNvPr>
          <p:cNvSpPr txBox="1"/>
          <p:nvPr/>
        </p:nvSpPr>
        <p:spPr>
          <a:xfrm>
            <a:off x="9389095" y="1023922"/>
            <a:ext cx="248942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Ø Strompreis: 102,95 €/MWh</a:t>
            </a:r>
          </a:p>
          <a:p>
            <a:r>
              <a:rPr lang="de-DE" sz="1400" dirty="0"/>
              <a:t>Ø CO</a:t>
            </a:r>
            <a:r>
              <a:rPr lang="de-DE" sz="1400" baseline="-25000" dirty="0"/>
              <a:t>2</a:t>
            </a:r>
            <a:r>
              <a:rPr lang="de-DE" sz="1400" dirty="0"/>
              <a:t>-Preis: 86,12 €/t</a:t>
            </a:r>
          </a:p>
          <a:p>
            <a:r>
              <a:rPr lang="de-DE" sz="1400" dirty="0"/>
              <a:t>Ø CLS: 13,25 €/MWh</a:t>
            </a:r>
            <a:endParaRPr lang="de-DE" dirty="0"/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524718E1-B89A-5581-31D9-2CB6BC067724}"/>
              </a:ext>
            </a:extLst>
          </p:cNvPr>
          <p:cNvGrpSpPr/>
          <p:nvPr/>
        </p:nvGrpSpPr>
        <p:grpSpPr>
          <a:xfrm>
            <a:off x="1833071" y="5634305"/>
            <a:ext cx="10013059" cy="462404"/>
            <a:chOff x="641794" y="4754422"/>
            <a:chExt cx="10013059" cy="462404"/>
          </a:xfrm>
        </p:grpSpPr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D632602D-3BA8-EDD7-C504-0C557816C014}"/>
                </a:ext>
              </a:extLst>
            </p:cNvPr>
            <p:cNvSpPr txBox="1"/>
            <p:nvPr/>
          </p:nvSpPr>
          <p:spPr>
            <a:xfrm>
              <a:off x="641794" y="4854213"/>
              <a:ext cx="2653983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700" dirty="0"/>
                <a:t>BK-        86% im Markt </a:t>
              </a:r>
            </a:p>
          </p:txBody>
        </p:sp>
        <p:pic>
          <p:nvPicPr>
            <p:cNvPr id="24" name="Grafik 23" descr="Kraftwerk Silhouette">
              <a:extLst>
                <a:ext uri="{FF2B5EF4-FFF2-40B4-BE49-F238E27FC236}">
                  <a16:creationId xmlns:a16="http://schemas.microsoft.com/office/drawing/2014/main" id="{ED586AE3-8099-D4D5-71FA-2535B59E546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87605" y="4754544"/>
              <a:ext cx="432000" cy="432000"/>
            </a:xfrm>
            <a:prstGeom prst="rect">
              <a:avLst/>
            </a:prstGeom>
          </p:spPr>
        </p:pic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20FF1B07-1A6D-B10D-A845-04D3E3F19FB8}"/>
                </a:ext>
              </a:extLst>
            </p:cNvPr>
            <p:cNvSpPr txBox="1"/>
            <p:nvPr/>
          </p:nvSpPr>
          <p:spPr>
            <a:xfrm>
              <a:off x="4581327" y="4857003"/>
              <a:ext cx="2653983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700"/>
                <a:t>BK-        84% im Markt </a:t>
              </a:r>
            </a:p>
          </p:txBody>
        </p:sp>
        <p:pic>
          <p:nvPicPr>
            <p:cNvPr id="26" name="Grafik 25" descr="Kraftwerk Silhouette">
              <a:extLst>
                <a:ext uri="{FF2B5EF4-FFF2-40B4-BE49-F238E27FC236}">
                  <a16:creationId xmlns:a16="http://schemas.microsoft.com/office/drawing/2014/main" id="{8A0FC069-8407-9643-A4EB-3C93034D407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027138" y="4757334"/>
              <a:ext cx="432000" cy="432000"/>
            </a:xfrm>
            <a:prstGeom prst="rect">
              <a:avLst/>
            </a:prstGeom>
          </p:spPr>
        </p:pic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1CD0675A-943B-BC7E-B440-D6D172BAB2A0}"/>
                </a:ext>
              </a:extLst>
            </p:cNvPr>
            <p:cNvSpPr txBox="1"/>
            <p:nvPr/>
          </p:nvSpPr>
          <p:spPr>
            <a:xfrm>
              <a:off x="8000870" y="4862883"/>
              <a:ext cx="2653983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700"/>
                <a:t>BK-        43% im Markt </a:t>
              </a:r>
            </a:p>
          </p:txBody>
        </p:sp>
        <p:pic>
          <p:nvPicPr>
            <p:cNvPr id="28" name="Grafik 27" descr="Kraftwerk Silhouette">
              <a:extLst>
                <a:ext uri="{FF2B5EF4-FFF2-40B4-BE49-F238E27FC236}">
                  <a16:creationId xmlns:a16="http://schemas.microsoft.com/office/drawing/2014/main" id="{9C310AE9-FB65-91CF-3666-04CBD7AF77A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446681" y="4754422"/>
              <a:ext cx="432000" cy="432000"/>
            </a:xfrm>
            <a:prstGeom prst="rect">
              <a:avLst/>
            </a:prstGeom>
          </p:spPr>
        </p:pic>
      </p:grp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A4F3F88C-5376-BBE5-54A3-2153321E34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</a:p>
        </p:txBody>
      </p:sp>
    </p:spTree>
    <p:extLst>
      <p:ext uri="{BB962C8B-B14F-4D97-AF65-F5344CB8AC3E}">
        <p14:creationId xmlns:p14="http://schemas.microsoft.com/office/powerpoint/2010/main" val="1246935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Chart bld="series" animBg="0"/>
        </p:bldSub>
      </p:bldGraphic>
      <p:bldP spid="15" grpId="0"/>
      <p:bldP spid="16" grpId="0"/>
      <p:bldP spid="1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8E02A52-5144-4B48-B9FD-7479FA575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1.2023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144E629-EFA9-4F0A-9E25-987F7B13D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HK/OHK-Workshop zur Energiewende in Deutschland und Tschechi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578E89-9C06-4658-A711-ED91CB20C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ED917-9624-4009-AF03-A08CE5788EE5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BCBA8FF-85CE-408C-A5CC-ADEB0669A543}"/>
              </a:ext>
            </a:extLst>
          </p:cNvPr>
          <p:cNvSpPr txBox="1"/>
          <p:nvPr/>
        </p:nvSpPr>
        <p:spPr>
          <a:xfrm>
            <a:off x="4318000" y="3041023"/>
            <a:ext cx="3556000" cy="7376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108000" rIns="68580" bIns="108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4350"/>
              </a:lnSpc>
            </a:pPr>
            <a:r>
              <a:rPr lang="de-DE" sz="3300" b="1" dirty="0">
                <a:latin typeface="Arial" panose="020B0604020202020204" pitchFamily="34" charset="0"/>
                <a:cs typeface="Arial" panose="020B0604020202020204" pitchFamily="34" charset="0"/>
              </a:rPr>
              <a:t>Transformation </a:t>
            </a:r>
            <a:endParaRPr lang="de-DE" sz="33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6126FE1-5F83-4C7C-8054-A768A7573010}"/>
              </a:ext>
            </a:extLst>
          </p:cNvPr>
          <p:cNvSpPr/>
          <p:nvPr/>
        </p:nvSpPr>
        <p:spPr>
          <a:xfrm>
            <a:off x="3990000" y="3041023"/>
            <a:ext cx="4212000" cy="659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6126FE1-5F83-4C7C-8054-A768A7573010}"/>
              </a:ext>
            </a:extLst>
          </p:cNvPr>
          <p:cNvSpPr/>
          <p:nvPr/>
        </p:nvSpPr>
        <p:spPr>
          <a:xfrm>
            <a:off x="3990000" y="3751034"/>
            <a:ext cx="4212000" cy="659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</p:spTree>
    <p:extLst>
      <p:ext uri="{BB962C8B-B14F-4D97-AF65-F5344CB8AC3E}">
        <p14:creationId xmlns:p14="http://schemas.microsoft.com/office/powerpoint/2010/main" val="1548364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J7nPZspB8JH6SgVC5c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OhzlO6_TiO9N2IVvWk6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ChWLEsUNga2lKAwX3N7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SDX9tgRikOjfgQkaq0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ddCfD.5ax2dFwH7utO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pB9mEw2j8TYn74oHiKp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K.ughGtwuIU852fGqW3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WdG4Q6yQg2aoX4SinA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E_u9iafyS6IYErKDILm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DfSklTuRv8UuIdMAeK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XWcYUXb1TB4WoLeyQPM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hqHoUlqY.y6.KndqQ3F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Wn2OSyzCT5f26fp9vZa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COtcyjyyaOdI.Ctb9mP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9bmgdv8pRiBIk78wrQK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eWHwR09CRG88qV81Zh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sdDHbx3JzCUKtHw3UMW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Gcz9GvwI3Oslncfs0e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FUVvYb13IZFdFM.Hc9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0PmgnD0bvcuXzuP9q3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21.1qkf36nNUH9lDhFb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EUDTT32C1wDWgxT8FgD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EDa3YXRjvB9jcXJOMz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gX5hAeYxXT5zTCn2hE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dQzcxihIWhzl59hAoh8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PRh8NLEavgLx7LO5uUH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VU_qMVqa7X4enTv714e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72YShfrP6K4Bpo8Oo6d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ofgiUlE8JImNaZzAps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Toiw5_UPLmx8VL8M_ZT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lNrCt8sUtM5oNxwmlUc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x6sXWrr0v.8tbj2Hkfb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zBctAhlW3lBW9xeAAL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.7ZHXcisE0BnuocaPAX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cbS9.lYbV02jVOvOWG7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P22S3ImXT0N6TmWF1xp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EdHDqo6fdv1s83.Y1LY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s4LbSGuwe7atoTAl5Kj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Od6op4mj6ZuhfgfUNx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kdPlXXUiR26h4zeJMfYQ"/>
</p:tagLst>
</file>

<file path=ppt/theme/theme1.xml><?xml version="1.0" encoding="utf-8"?>
<a:theme xmlns:a="http://schemas.openxmlformats.org/drawingml/2006/main" name="Office">
  <a:themeElements>
    <a:clrScheme name="MIBRAG">
      <a:dk1>
        <a:sysClr val="windowText" lastClr="000000"/>
      </a:dk1>
      <a:lt1>
        <a:sysClr val="window" lastClr="FFFFFF"/>
      </a:lt1>
      <a:dk2>
        <a:srgbClr val="603408"/>
      </a:dk2>
      <a:lt2>
        <a:srgbClr val="DEDEDE"/>
      </a:lt2>
      <a:accent1>
        <a:srgbClr val="7AB51D"/>
      </a:accent1>
      <a:accent2>
        <a:srgbClr val="00A7DC"/>
      </a:accent2>
      <a:accent3>
        <a:srgbClr val="603408"/>
      </a:accent3>
      <a:accent4>
        <a:srgbClr val="AFD377"/>
      </a:accent4>
      <a:accent5>
        <a:srgbClr val="66CAEA"/>
      </a:accent5>
      <a:accent6>
        <a:srgbClr val="689A1A"/>
      </a:accent6>
      <a:hlink>
        <a:srgbClr val="00A7DC"/>
      </a:hlink>
      <a:folHlink>
        <a:srgbClr val="66CAEA"/>
      </a:folHlink>
    </a:clrScheme>
    <a:fontScheme name="MIBR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IB_19-0288_PPT-16-9_E5" id="{751D1AAE-9D5A-4487-8004-A2614C00F90D}" vid="{AFFC5F96-7953-403F-829E-E6D6EF41B39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989d858-6d9f-4655-9051-dfecf657ee92" xsi:nil="true"/>
    <lcf76f155ced4ddcb4097134ff3c332f xmlns="669f7029-cae3-4eb8-836a-ec63db0d4a51">
      <Terms xmlns="http://schemas.microsoft.com/office/infopath/2007/PartnerControls"/>
    </lcf76f155ced4ddcb4097134ff3c332f>
    <Bezug xmlns="669f7029-cae3-4eb8-836a-ec63db0d4a5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DDD76C01E15E24BB4D1E90FB890AD91" ma:contentTypeVersion="27" ma:contentTypeDescription="Ein neues Dokument erstellen." ma:contentTypeScope="" ma:versionID="bdc1de4ec14e8eb0e00978618a5cc101">
  <xsd:schema xmlns:xsd="http://www.w3.org/2001/XMLSchema" xmlns:xs="http://www.w3.org/2001/XMLSchema" xmlns:p="http://schemas.microsoft.com/office/2006/metadata/properties" xmlns:ns2="669f7029-cae3-4eb8-836a-ec63db0d4a51" xmlns:ns3="c87806a0-0d0f-4e2e-9904-b6e3fd5b86b0" xmlns:ns4="f989d858-6d9f-4655-9051-dfecf657ee92" targetNamespace="http://schemas.microsoft.com/office/2006/metadata/properties" ma:root="true" ma:fieldsID="2dc452d65303bb4d95dbeede1dc54814" ns2:_="" ns3:_="" ns4:_="">
    <xsd:import namespace="669f7029-cae3-4eb8-836a-ec63db0d4a51"/>
    <xsd:import namespace="c87806a0-0d0f-4e2e-9904-b6e3fd5b86b0"/>
    <xsd:import namespace="f989d858-6d9f-4655-9051-dfecf657ee92"/>
    <xsd:element name="properties">
      <xsd:complexType>
        <xsd:sequence>
          <xsd:element name="documentManagement">
            <xsd:complexType>
              <xsd:all>
                <xsd:element ref="ns2:Bezug" minOccurs="0"/>
                <xsd:element ref="ns3:SharedWithUsers" minOccurs="0"/>
                <xsd:element ref="ns3:SharedWithDetails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lcf76f155ced4ddcb4097134ff3c332f" minOccurs="0"/>
                <xsd:element ref="ns4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9f7029-cae3-4eb8-836a-ec63db0d4a51" elementFormDefault="qualified">
    <xsd:import namespace="http://schemas.microsoft.com/office/2006/documentManagement/types"/>
    <xsd:import namespace="http://schemas.microsoft.com/office/infopath/2007/PartnerControls"/>
    <xsd:element name="Bezug" ma:index="8" nillable="true" ma:displayName="Bezug" ma:list="{669f7029-cae3-4eb8-836a-ec63db0d4a51}" ma:internalName="Bezug" ma:readOnly="false" ma:showField="Title">
      <xsd:simpleType>
        <xsd:restriction base="dms:Lookup"/>
      </xsd:simple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51d804b9-a185-4d3f-89b4-f124635458a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7806a0-0d0f-4e2e-9904-b6e3fd5b86b0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89d858-6d9f-4655-9051-dfecf657ee9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f28dfaab-4680-40dd-b49a-842562b37496}" ma:internalName="TaxCatchAll" ma:showField="CatchAllData" ma:web="f989d858-6d9f-4655-9051-dfecf657ee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7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/>
</file>

<file path=customXml/itemProps1.xml><?xml version="1.0" encoding="utf-8"?>
<ds:datastoreItem xmlns:ds="http://schemas.openxmlformats.org/officeDocument/2006/customXml" ds:itemID="{9E945E7D-A6D1-4A09-9D5B-A98145A7F8BA}">
  <ds:schemaRefs>
    <ds:schemaRef ds:uri="669f7029-cae3-4eb8-836a-ec63db0d4a51"/>
    <ds:schemaRef ds:uri="c87806a0-0d0f-4e2e-9904-b6e3fd5b86b0"/>
    <ds:schemaRef ds:uri="f989d858-6d9f-4655-9051-dfecf657ee9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4C681A9-A50C-45B9-A588-09012C4BC880}">
  <ds:schemaRefs>
    <ds:schemaRef ds:uri="669f7029-cae3-4eb8-836a-ec63db0d4a51"/>
    <ds:schemaRef ds:uri="c87806a0-0d0f-4e2e-9904-b6e3fd5b86b0"/>
    <ds:schemaRef ds:uri="f989d858-6d9f-4655-9051-dfecf657ee9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B668008-E339-4B5B-9B1A-2630CBAFDEC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ORLAGE_MIBRAG_16-9</Template>
  <TotalTime>0</TotalTime>
  <Words>1552</Words>
  <Application>Microsoft Office PowerPoint</Application>
  <PresentationFormat>Breitbild</PresentationFormat>
  <Paragraphs>446</Paragraphs>
  <Slides>24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33" baseType="lpstr">
      <vt:lpstr>Arial</vt:lpstr>
      <vt:lpstr>Calibri</vt:lpstr>
      <vt:lpstr>Calibri Light</vt:lpstr>
      <vt:lpstr>Nirmala UI</vt:lpstr>
      <vt:lpstr>Segoe UI</vt:lpstr>
      <vt:lpstr>Symbol</vt:lpstr>
      <vt:lpstr>Wingdings</vt:lpstr>
      <vt:lpstr>Office</vt:lpstr>
      <vt:lpstr>think-cell Folie</vt:lpstr>
      <vt:lpstr>Einblicke in den MIBRAG-Transformationsprozess </vt:lpstr>
      <vt:lpstr>MIBRAG – Energie aus der Region. Verlässlich. Vielseitig. Verantwortungsvoll.</vt:lpstr>
      <vt:lpstr>PowerPoint-Präsentation</vt:lpstr>
      <vt:lpstr>Kohlekompromiss 2019 / Kohleausstiegsgesetz 2020</vt:lpstr>
      <vt:lpstr>KVBG-Stilllegungspfad</vt:lpstr>
      <vt:lpstr>Energiepolitische Weichenstellungen und Wegmarken seit 2019</vt:lpstr>
      <vt:lpstr>Marktsituation Kraftwerke </vt:lpstr>
      <vt:lpstr>Preisentwicklung am Strommarkt (EEX Day-Ahead)</vt:lpstr>
      <vt:lpstr>PowerPoint-Präsentation</vt:lpstr>
      <vt:lpstr>MIBRAG-Wachstumspfad</vt:lpstr>
      <vt:lpstr>MIBRAG Energy Group Ausrichtung auf vier Geschäftsfelder mit Wachstumspotenzial und Beschäftigungsperspektive für unterschiedliche Berufsgruppen</vt:lpstr>
      <vt:lpstr>MIBRAG Energy Group Windenergie-Projekte</vt:lpstr>
      <vt:lpstr>MIBRAG Energy Group PV-Projekte</vt:lpstr>
      <vt:lpstr>Inbetriebnahme PV Peres II</vt:lpstr>
      <vt:lpstr>MIBRAG Energy Group  Geschäftsfeld Energie: H2-Elektrolyse als nächste Wertschöpfungsstufe</vt:lpstr>
      <vt:lpstr>MIBRAG Energy Group Geschäftsfeld Recycling/ Verwertung</vt:lpstr>
      <vt:lpstr>MIBRAG Energy Group Geschäftsfeld Dienstleistungen: Bergbaunahe Ingenieurleistungen</vt:lpstr>
      <vt:lpstr>MIBRAG Energy Group Geschäftsfeld Industrielösungen: Train Service</vt:lpstr>
      <vt:lpstr>EMIR – Erneuerung MIBRAG im Revier</vt:lpstr>
      <vt:lpstr>PowerPoint-Präsentation</vt:lpstr>
      <vt:lpstr>Standorte der MIBRAG Betriebsstätten - Revierkarte</vt:lpstr>
      <vt:lpstr>Förderung im Jahr 2022 in Deutschland</vt:lpstr>
      <vt:lpstr>Politisches Ziel und Status Quo: EE-Anteil am Bruttostromverbrauch</vt:lpstr>
      <vt:lpstr>Realitätscheck der energiepolitischen Ausbauziele</vt:lpstr>
    </vt:vector>
  </TitlesOfParts>
  <Company>MIBRAG 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rkshop Gästeführer</dc:title>
  <dc:creator>Ehlers,Swantje</dc:creator>
  <cp:lastModifiedBy>Admin</cp:lastModifiedBy>
  <cp:revision>1</cp:revision>
  <dcterms:created xsi:type="dcterms:W3CDTF">2023-02-27T08:41:13Z</dcterms:created>
  <dcterms:modified xsi:type="dcterms:W3CDTF">2023-11-21T09:40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D76C01E15E24BB4D1E90FB890AD91</vt:lpwstr>
  </property>
  <property fmtid="{D5CDD505-2E9C-101B-9397-08002B2CF9AE}" pid="3" name="MediaServiceImageTags">
    <vt:lpwstr/>
  </property>
</Properties>
</file>